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colors8.xml" ContentType="application/vnd.openxmlformats-officedocument.drawingml.diagramColors+xml"/>
  <Default Extension="xlsx" ContentType="application/vnd.openxmlformats-officedocument.spreadsheetml.sheet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colors6.xml" ContentType="application/vnd.openxmlformats-officedocument.drawingml.diagramColors+xml"/>
  <Override PartName="/ppt/diagrams/drawing7.xml" ContentType="application/vnd.ms-office.drawingml.diagramDrawing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diagrams/colors4.xml" ContentType="application/vnd.openxmlformats-officedocument.drawingml.diagramColors+xml"/>
  <Override PartName="/ppt/diagrams/drawing5.xml" ContentType="application/vnd.ms-office.drawingml.diagramDrawing+xml"/>
  <Override PartName="/ppt/diagrams/quickStyle7.xml" ContentType="application/vnd.openxmlformats-officedocument.drawingml.diagramStyl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diagrams/layout8.xml" ContentType="application/vnd.openxmlformats-officedocument.drawingml.diagram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diagrams/layout4.xml" ContentType="application/vnd.openxmlformats-officedocument.drawingml.diagramLayout+xml"/>
  <Override PartName="/ppt/diagrams/data7.xml" ContentType="application/vnd.openxmlformats-officedocument.drawingml.diagramData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diagrams/drawing8.xml" ContentType="application/vnd.ms-office.drawingml.diagramDrawing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notesSlides/notesSlide6.xml" ContentType="application/vnd.openxmlformats-officedocument.presentationml.notesSlide+xml"/>
  <Override PartName="/ppt/diagrams/colors5.xml" ContentType="application/vnd.openxmlformats-officedocument.drawingml.diagramColors+xml"/>
  <Override PartName="/ppt/diagrams/drawing6.xml" ContentType="application/vnd.ms-office.drawingml.diagramDrawing+xml"/>
  <Override PartName="/ppt/diagrams/quickStyle8.xml" ContentType="application/vnd.openxmlformats-officedocument.drawingml.diagramStyl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drawing4.xml" ContentType="application/vnd.ms-office.drawingml.diagramDrawing+xml"/>
  <Override PartName="/ppt/diagrams/quickStyle6.xml" ContentType="application/vnd.openxmlformats-officedocument.drawingml.diagramStyl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86" r:id="rId2"/>
    <p:sldId id="285" r:id="rId3"/>
    <p:sldId id="343" r:id="rId4"/>
    <p:sldId id="334" r:id="rId5"/>
    <p:sldId id="335" r:id="rId6"/>
    <p:sldId id="327" r:id="rId7"/>
    <p:sldId id="344" r:id="rId8"/>
    <p:sldId id="345" r:id="rId9"/>
    <p:sldId id="347" r:id="rId10"/>
    <p:sldId id="340" r:id="rId11"/>
    <p:sldId id="341" r:id="rId12"/>
    <p:sldId id="348" r:id="rId13"/>
    <p:sldId id="284" r:id="rId14"/>
    <p:sldId id="324" r:id="rId15"/>
    <p:sldId id="325" r:id="rId16"/>
    <p:sldId id="326" r:id="rId17"/>
    <p:sldId id="287" r:id="rId18"/>
    <p:sldId id="288" r:id="rId19"/>
    <p:sldId id="294" r:id="rId20"/>
    <p:sldId id="323" r:id="rId21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50021"/>
    <a:srgbClr val="003366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385" autoAdjust="0"/>
    <p:restoredTop sz="94660"/>
  </p:normalViewPr>
  <p:slideViewPr>
    <p:cSldViewPr>
      <p:cViewPr>
        <p:scale>
          <a:sx n="75" d="100"/>
          <a:sy n="75" d="100"/>
        </p:scale>
        <p:origin x="-94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>
      <p:cViewPr varScale="1">
        <p:scale>
          <a:sx n="57" d="100"/>
          <a:sy n="57" d="100"/>
        </p:scale>
        <p:origin x="-2520" y="-84"/>
      </p:cViewPr>
      <p:guideLst>
        <p:guide orient="horz" pos="2880"/>
        <p:guide pos="2160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GB"/>
  <c:chart>
    <c:title>
      <c:tx>
        <c:rich>
          <a:bodyPr/>
          <a:lstStyle/>
          <a:p>
            <a:pPr>
              <a:defRPr>
                <a:solidFill>
                  <a:srgbClr val="003366"/>
                </a:solidFill>
              </a:defRPr>
            </a:pPr>
            <a:r>
              <a:rPr lang="en-US" dirty="0" smtClean="0">
                <a:solidFill>
                  <a:srgbClr val="003366"/>
                </a:solidFill>
              </a:rPr>
              <a:t>InvolveHR Sales</a:t>
            </a:r>
            <a:endParaRPr lang="en-US" dirty="0">
              <a:solidFill>
                <a:srgbClr val="003366"/>
              </a:solidFill>
            </a:endParaRPr>
          </a:p>
        </c:rich>
      </c:tx>
      <c:layout/>
    </c:title>
    <c:view3D>
      <c:rotX val="30"/>
      <c:perspective val="30"/>
    </c:view3D>
    <c:plotArea>
      <c:layout/>
      <c:pie3DChart>
        <c:varyColors val="1"/>
      </c:pie3DChart>
    </c:plotArea>
    <c:plotVisOnly val="1"/>
  </c:chart>
  <c:txPr>
    <a:bodyPr/>
    <a:lstStyle/>
    <a:p>
      <a:pPr>
        <a:defRPr sz="1800"/>
      </a:pPr>
      <a:endParaRPr lang="en-US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E9D593-8BE3-432C-B28A-8631B6DD5104}" type="doc">
      <dgm:prSet loTypeId="urn:microsoft.com/office/officeart/2005/8/layout/chart3" loCatId="cycle" qsTypeId="urn:microsoft.com/office/officeart/2005/8/quickstyle/3d2" qsCatId="3D" csTypeId="urn:microsoft.com/office/officeart/2005/8/colors/accent1_2" csCatId="accent1" phldr="1"/>
      <dgm:spPr/>
    </dgm:pt>
    <dgm:pt modelId="{5C7B6D85-F656-4835-8D36-C510D13EE993}">
      <dgm:prSet phldrT="[Text]" custT="1"/>
      <dgm:spPr>
        <a:solidFill>
          <a:srgbClr val="A50021"/>
        </a:solidFill>
      </dgm:spPr>
      <dgm:t>
        <a:bodyPr/>
        <a:lstStyle/>
        <a:p>
          <a:r>
            <a:rPr lang="en-US" sz="1300" b="1" dirty="0" smtClean="0"/>
            <a:t>Strategy</a:t>
          </a:r>
          <a:endParaRPr lang="en-GB" sz="1300" b="1" dirty="0" smtClean="0"/>
        </a:p>
      </dgm:t>
    </dgm:pt>
    <dgm:pt modelId="{755F11AF-F7F9-460C-A8F7-4E45E30CD4FD}" type="parTrans" cxnId="{3A7A2E98-EA65-4CA7-BD24-E6856E0263CF}">
      <dgm:prSet/>
      <dgm:spPr/>
      <dgm:t>
        <a:bodyPr/>
        <a:lstStyle/>
        <a:p>
          <a:endParaRPr lang="en-GB"/>
        </a:p>
      </dgm:t>
    </dgm:pt>
    <dgm:pt modelId="{1A5DACB1-52A6-4169-ACA4-9A2B40833477}" type="sibTrans" cxnId="{3A7A2E98-EA65-4CA7-BD24-E6856E0263CF}">
      <dgm:prSet/>
      <dgm:spPr/>
      <dgm:t>
        <a:bodyPr/>
        <a:lstStyle/>
        <a:p>
          <a:endParaRPr lang="en-GB"/>
        </a:p>
      </dgm:t>
    </dgm:pt>
    <dgm:pt modelId="{5A8F1824-DD2D-442A-8E1A-DC14638D68B5}">
      <dgm:prSet phldrT="[Text]" custT="1"/>
      <dgm:spPr>
        <a:solidFill>
          <a:srgbClr val="A50021"/>
        </a:solidFill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gm:spPr>
      <dgm:t>
        <a:bodyPr/>
        <a:lstStyle/>
        <a:p>
          <a:r>
            <a:rPr lang="en-US" sz="1300" b="1" dirty="0" smtClean="0"/>
            <a:t>Design</a:t>
          </a:r>
          <a:endParaRPr lang="en-GB" sz="1300" b="1" dirty="0" smtClean="0"/>
        </a:p>
      </dgm:t>
    </dgm:pt>
    <dgm:pt modelId="{786FED4F-39B6-4DDF-81AF-098F07E799D6}" type="parTrans" cxnId="{B02C4D71-645B-4FFA-BFB4-DAEEA7B3912A}">
      <dgm:prSet/>
      <dgm:spPr/>
      <dgm:t>
        <a:bodyPr/>
        <a:lstStyle/>
        <a:p>
          <a:endParaRPr lang="en-GB"/>
        </a:p>
      </dgm:t>
    </dgm:pt>
    <dgm:pt modelId="{7F71D659-157A-4240-B5EF-1574C9BC9FC8}" type="sibTrans" cxnId="{B02C4D71-645B-4FFA-BFB4-DAEEA7B3912A}">
      <dgm:prSet/>
      <dgm:spPr/>
      <dgm:t>
        <a:bodyPr/>
        <a:lstStyle/>
        <a:p>
          <a:endParaRPr lang="en-GB"/>
        </a:p>
      </dgm:t>
    </dgm:pt>
    <dgm:pt modelId="{FC8C44B3-11B5-4D59-AA4C-C24E7E4AC596}">
      <dgm:prSet phldrT="[Text]" custT="1"/>
      <dgm:spPr>
        <a:solidFill>
          <a:srgbClr val="A50021"/>
        </a:solidFill>
        <a:scene3d>
          <a:camera prst="orthographicFront"/>
          <a:lightRig rig="threePt" dir="t">
            <a:rot lat="0" lon="0" rev="7500000"/>
          </a:lightRig>
        </a:scene3d>
        <a:sp3d>
          <a:bevelT prst="relaxedInset"/>
        </a:sp3d>
      </dgm:spPr>
      <dgm:t>
        <a:bodyPr/>
        <a:lstStyle/>
        <a:p>
          <a:r>
            <a:rPr lang="en-US" sz="1300" b="1" dirty="0" smtClean="0"/>
            <a:t>Technology</a:t>
          </a:r>
          <a:endParaRPr lang="en-GB" sz="1300" b="1" dirty="0" smtClean="0"/>
        </a:p>
      </dgm:t>
    </dgm:pt>
    <dgm:pt modelId="{E2A763E4-183B-4413-B7D4-4D3B2B4A79CE}" type="parTrans" cxnId="{245D53E9-A9B2-4895-95F5-FAF5D9F07AC4}">
      <dgm:prSet/>
      <dgm:spPr/>
      <dgm:t>
        <a:bodyPr/>
        <a:lstStyle/>
        <a:p>
          <a:endParaRPr lang="en-GB"/>
        </a:p>
      </dgm:t>
    </dgm:pt>
    <dgm:pt modelId="{056728AA-A518-4742-BE8A-ABF5A481550E}" type="sibTrans" cxnId="{245D53E9-A9B2-4895-95F5-FAF5D9F07AC4}">
      <dgm:prSet/>
      <dgm:spPr/>
      <dgm:t>
        <a:bodyPr/>
        <a:lstStyle/>
        <a:p>
          <a:endParaRPr lang="en-GB"/>
        </a:p>
      </dgm:t>
    </dgm:pt>
    <dgm:pt modelId="{F4CEFDFB-C38A-4D6C-A614-F984027CB154}">
      <dgm:prSet custT="1"/>
      <dgm:spPr>
        <a:solidFill>
          <a:srgbClr val="A50021"/>
        </a:solidFill>
      </dgm:spPr>
      <dgm:t>
        <a:bodyPr/>
        <a:lstStyle/>
        <a:p>
          <a:r>
            <a:rPr lang="en-US" sz="1300" b="1" dirty="0" smtClean="0"/>
            <a:t>Capability</a:t>
          </a:r>
          <a:endParaRPr lang="en-GB" sz="1300" b="1" dirty="0" smtClean="0"/>
        </a:p>
      </dgm:t>
    </dgm:pt>
    <dgm:pt modelId="{32300DFC-6024-4A5C-8839-F29B4002280B}" type="parTrans" cxnId="{EDEA717C-4C1F-4A51-9868-7448A561EB8D}">
      <dgm:prSet/>
      <dgm:spPr/>
      <dgm:t>
        <a:bodyPr/>
        <a:lstStyle/>
        <a:p>
          <a:endParaRPr lang="en-GB"/>
        </a:p>
      </dgm:t>
    </dgm:pt>
    <dgm:pt modelId="{2B342FC6-0D8A-4996-BD28-DA632D9CD1B3}" type="sibTrans" cxnId="{EDEA717C-4C1F-4A51-9868-7448A561EB8D}">
      <dgm:prSet/>
      <dgm:spPr/>
      <dgm:t>
        <a:bodyPr/>
        <a:lstStyle/>
        <a:p>
          <a:endParaRPr lang="en-GB"/>
        </a:p>
      </dgm:t>
    </dgm:pt>
    <dgm:pt modelId="{6530EB8A-7015-4817-82D2-F7A6343DF7DB}">
      <dgm:prSet custT="1"/>
      <dgm:spPr>
        <a:solidFill>
          <a:srgbClr val="A50021"/>
        </a:solidFill>
      </dgm:spPr>
      <dgm:t>
        <a:bodyPr/>
        <a:lstStyle/>
        <a:p>
          <a:r>
            <a:rPr lang="en-US" sz="1300" b="1" dirty="0" smtClean="0"/>
            <a:t>Rewards</a:t>
          </a:r>
          <a:endParaRPr lang="en-GB" sz="1300" b="1" dirty="0" smtClean="0"/>
        </a:p>
      </dgm:t>
    </dgm:pt>
    <dgm:pt modelId="{68AED87C-83F9-4280-A9CE-8D697B03FF66}" type="parTrans" cxnId="{7FF6F4BB-D935-4126-87F9-E3E1F05E6964}">
      <dgm:prSet/>
      <dgm:spPr/>
      <dgm:t>
        <a:bodyPr/>
        <a:lstStyle/>
        <a:p>
          <a:endParaRPr lang="en-GB"/>
        </a:p>
      </dgm:t>
    </dgm:pt>
    <dgm:pt modelId="{B31FF8EB-E346-46F4-9890-927090A23570}" type="sibTrans" cxnId="{7FF6F4BB-D935-4126-87F9-E3E1F05E6964}">
      <dgm:prSet/>
      <dgm:spPr/>
      <dgm:t>
        <a:bodyPr/>
        <a:lstStyle/>
        <a:p>
          <a:endParaRPr lang="en-GB"/>
        </a:p>
      </dgm:t>
    </dgm:pt>
    <dgm:pt modelId="{DCE4AB56-23DF-4015-93A9-5E4AFDF74EFB}">
      <dgm:prSet custT="1"/>
      <dgm:spPr>
        <a:solidFill>
          <a:srgbClr val="A50021"/>
        </a:solidFill>
      </dgm:spPr>
      <dgm:t>
        <a:bodyPr/>
        <a:lstStyle/>
        <a:p>
          <a:r>
            <a:rPr lang="en-US" sz="1300" b="1" dirty="0" smtClean="0"/>
            <a:t>Work</a:t>
          </a:r>
          <a:r>
            <a:rPr lang="en-US" sz="2200" b="1" dirty="0" smtClean="0"/>
            <a:t/>
          </a:r>
          <a:br>
            <a:rPr lang="en-US" sz="2200" b="1" dirty="0" smtClean="0"/>
          </a:br>
          <a:r>
            <a:rPr lang="en-US" sz="1300" b="1" dirty="0" smtClean="0"/>
            <a:t>Design</a:t>
          </a:r>
          <a:endParaRPr lang="en-GB" sz="1300" b="1" dirty="0" smtClean="0"/>
        </a:p>
      </dgm:t>
    </dgm:pt>
    <dgm:pt modelId="{33D5B691-A7AE-4EB2-B418-FDD5CF1D0680}" type="parTrans" cxnId="{AD6DEE1A-5642-4082-81B9-4E50E6A830F6}">
      <dgm:prSet/>
      <dgm:spPr/>
      <dgm:t>
        <a:bodyPr/>
        <a:lstStyle/>
        <a:p>
          <a:endParaRPr lang="en-GB"/>
        </a:p>
      </dgm:t>
    </dgm:pt>
    <dgm:pt modelId="{7DEDC185-C841-43BA-B9A4-7EB3F51BA9A0}" type="sibTrans" cxnId="{AD6DEE1A-5642-4082-81B9-4E50E6A830F6}">
      <dgm:prSet/>
      <dgm:spPr/>
      <dgm:t>
        <a:bodyPr/>
        <a:lstStyle/>
        <a:p>
          <a:endParaRPr lang="en-GB"/>
        </a:p>
      </dgm:t>
    </dgm:pt>
    <dgm:pt modelId="{FF6010BD-018F-479A-B84B-3315E7B9FA39}" type="pres">
      <dgm:prSet presAssocID="{C5E9D593-8BE3-432C-B28A-8631B6DD5104}" presName="compositeShape" presStyleCnt="0">
        <dgm:presLayoutVars>
          <dgm:chMax val="7"/>
          <dgm:dir/>
          <dgm:resizeHandles val="exact"/>
        </dgm:presLayoutVars>
      </dgm:prSet>
      <dgm:spPr/>
    </dgm:pt>
    <dgm:pt modelId="{5584EB18-F9DD-42DE-BC66-D1A803919B6C}" type="pres">
      <dgm:prSet presAssocID="{C5E9D593-8BE3-432C-B28A-8631B6DD5104}" presName="wedge1" presStyleLbl="node1" presStyleIdx="0" presStyleCnt="6" custScaleX="95231" custScaleY="95093" custLinFactNeighborX="-3814" custLinFactNeighborY="15451"/>
      <dgm:spPr/>
      <dgm:t>
        <a:bodyPr/>
        <a:lstStyle/>
        <a:p>
          <a:endParaRPr lang="en-GB"/>
        </a:p>
      </dgm:t>
    </dgm:pt>
    <dgm:pt modelId="{D40A0DBC-E111-435C-AA0F-7E8DBA425AAE}" type="pres">
      <dgm:prSet presAssocID="{C5E9D593-8BE3-432C-B28A-8631B6DD5104}" presName="wedge1Tx" presStyleLbl="node1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772B63C-1B3D-4E5A-9F44-864E106BDC10}" type="pres">
      <dgm:prSet presAssocID="{C5E9D593-8BE3-432C-B28A-8631B6DD5104}" presName="wedge2" presStyleLbl="node1" presStyleIdx="1" presStyleCnt="6" custLinFactNeighborX="-1738" custLinFactNeighborY="11675"/>
      <dgm:spPr/>
      <dgm:t>
        <a:bodyPr/>
        <a:lstStyle/>
        <a:p>
          <a:endParaRPr lang="en-GB"/>
        </a:p>
      </dgm:t>
    </dgm:pt>
    <dgm:pt modelId="{E9D201FE-7CBA-4713-BE29-1F45C8C121AF}" type="pres">
      <dgm:prSet presAssocID="{C5E9D593-8BE3-432C-B28A-8631B6DD5104}" presName="wedge2Tx" presStyleLbl="node1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53EA0A1-211F-425A-840F-FF28B412BF87}" type="pres">
      <dgm:prSet presAssocID="{C5E9D593-8BE3-432C-B28A-8631B6DD5104}" presName="wedge3" presStyleLbl="node1" presStyleIdx="2" presStyleCnt="6" custAng="0" custScaleX="98032" custScaleY="97635" custLinFactNeighborX="-1229" custLinFactNeighborY="12530"/>
      <dgm:spPr/>
      <dgm:t>
        <a:bodyPr/>
        <a:lstStyle/>
        <a:p>
          <a:endParaRPr lang="en-GB"/>
        </a:p>
      </dgm:t>
    </dgm:pt>
    <dgm:pt modelId="{D9E20CC7-56EF-4A3F-90A2-232831D79677}" type="pres">
      <dgm:prSet presAssocID="{C5E9D593-8BE3-432C-B28A-8631B6DD5104}" presName="wedge3Tx" presStyleLbl="node1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77CC484-34B8-4A2D-B515-00B47264B2A6}" type="pres">
      <dgm:prSet presAssocID="{C5E9D593-8BE3-432C-B28A-8631B6DD5104}" presName="wedge4" presStyleLbl="node1" presStyleIdx="3" presStyleCnt="6" custLinFactNeighborX="-2496" custLinFactNeighborY="11110"/>
      <dgm:spPr/>
      <dgm:t>
        <a:bodyPr/>
        <a:lstStyle/>
        <a:p>
          <a:endParaRPr lang="en-GB"/>
        </a:p>
      </dgm:t>
    </dgm:pt>
    <dgm:pt modelId="{349C4DDB-DBD6-4871-8706-A313F35E0D8E}" type="pres">
      <dgm:prSet presAssocID="{C5E9D593-8BE3-432C-B28A-8631B6DD5104}" presName="wedge4Tx" presStyleLbl="node1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AB1A9F6-583B-40BE-87D7-65DC7B5FC359}" type="pres">
      <dgm:prSet presAssocID="{C5E9D593-8BE3-432C-B28A-8631B6DD5104}" presName="wedge5" presStyleLbl="node1" presStyleIdx="4" presStyleCnt="6" custScaleX="100022" custScaleY="98856" custLinFactNeighborX="-2340" custLinFactNeighborY="10254"/>
      <dgm:spPr/>
      <dgm:t>
        <a:bodyPr/>
        <a:lstStyle/>
        <a:p>
          <a:endParaRPr lang="en-GB"/>
        </a:p>
      </dgm:t>
    </dgm:pt>
    <dgm:pt modelId="{C8069B02-831A-40B8-84CD-15A13F190D3B}" type="pres">
      <dgm:prSet presAssocID="{C5E9D593-8BE3-432C-B28A-8631B6DD5104}" presName="wedge5Tx" presStyleLbl="node1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E4DBD9-9B0C-45C9-9ACC-8669204E3907}" type="pres">
      <dgm:prSet presAssocID="{C5E9D593-8BE3-432C-B28A-8631B6DD5104}" presName="wedge6" presStyleLbl="node1" presStyleIdx="5" presStyleCnt="6" custScaleX="106109" custScaleY="94635" custLinFactNeighborX="-1425" custLinFactNeighborY="10573"/>
      <dgm:spPr/>
      <dgm:t>
        <a:bodyPr/>
        <a:lstStyle/>
        <a:p>
          <a:endParaRPr lang="en-GB"/>
        </a:p>
      </dgm:t>
    </dgm:pt>
    <dgm:pt modelId="{F33844B5-F32A-44B6-9CFA-573DBD7DFEEA}" type="pres">
      <dgm:prSet presAssocID="{C5E9D593-8BE3-432C-B28A-8631B6DD5104}" presName="wedge6Tx" presStyleLbl="node1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012A8DC4-61E6-4412-BC8A-7FEF908DA5D7}" type="presOf" srcId="{DCE4AB56-23DF-4015-93A9-5E4AFDF74EFB}" destId="{C8069B02-831A-40B8-84CD-15A13F190D3B}" srcOrd="1" destOrd="0" presId="urn:microsoft.com/office/officeart/2005/8/layout/chart3"/>
    <dgm:cxn modelId="{DAAC7AE9-7C63-4473-91DD-A516F0971D39}" type="presOf" srcId="{6530EB8A-7015-4817-82D2-F7A6343DF7DB}" destId="{349C4DDB-DBD6-4871-8706-A313F35E0D8E}" srcOrd="1" destOrd="0" presId="urn:microsoft.com/office/officeart/2005/8/layout/chart3"/>
    <dgm:cxn modelId="{AD6DEE1A-5642-4082-81B9-4E50E6A830F6}" srcId="{C5E9D593-8BE3-432C-B28A-8631B6DD5104}" destId="{DCE4AB56-23DF-4015-93A9-5E4AFDF74EFB}" srcOrd="4" destOrd="0" parTransId="{33D5B691-A7AE-4EB2-B418-FDD5CF1D0680}" sibTransId="{7DEDC185-C841-43BA-B9A4-7EB3F51BA9A0}"/>
    <dgm:cxn modelId="{3A7A2E98-EA65-4CA7-BD24-E6856E0263CF}" srcId="{C5E9D593-8BE3-432C-B28A-8631B6DD5104}" destId="{5C7B6D85-F656-4835-8D36-C510D13EE993}" srcOrd="0" destOrd="0" parTransId="{755F11AF-F7F9-460C-A8F7-4E45E30CD4FD}" sibTransId="{1A5DACB1-52A6-4169-ACA4-9A2B40833477}"/>
    <dgm:cxn modelId="{DA7343DB-7EEB-4DA5-A9E5-3EC79ECD6245}" type="presOf" srcId="{DCE4AB56-23DF-4015-93A9-5E4AFDF74EFB}" destId="{0AB1A9F6-583B-40BE-87D7-65DC7B5FC359}" srcOrd="0" destOrd="0" presId="urn:microsoft.com/office/officeart/2005/8/layout/chart3"/>
    <dgm:cxn modelId="{359A2D02-1090-4529-B05F-C08AB65B0783}" type="presOf" srcId="{F4CEFDFB-C38A-4D6C-A614-F984027CB154}" destId="{D9E20CC7-56EF-4A3F-90A2-232831D79677}" srcOrd="1" destOrd="0" presId="urn:microsoft.com/office/officeart/2005/8/layout/chart3"/>
    <dgm:cxn modelId="{A2FF2D5A-CCA4-4C13-A980-E0491A9B9C75}" type="presOf" srcId="{F4CEFDFB-C38A-4D6C-A614-F984027CB154}" destId="{D53EA0A1-211F-425A-840F-FF28B412BF87}" srcOrd="0" destOrd="0" presId="urn:microsoft.com/office/officeart/2005/8/layout/chart3"/>
    <dgm:cxn modelId="{8E716330-4396-4086-9FCC-0135350865C7}" type="presOf" srcId="{5A8F1824-DD2D-442A-8E1A-DC14638D68B5}" destId="{E9D201FE-7CBA-4713-BE29-1F45C8C121AF}" srcOrd="1" destOrd="0" presId="urn:microsoft.com/office/officeart/2005/8/layout/chart3"/>
    <dgm:cxn modelId="{F5E74E38-B89D-4E81-AF59-2D9C81432FF5}" type="presOf" srcId="{6530EB8A-7015-4817-82D2-F7A6343DF7DB}" destId="{D77CC484-34B8-4A2D-B515-00B47264B2A6}" srcOrd="0" destOrd="0" presId="urn:microsoft.com/office/officeart/2005/8/layout/chart3"/>
    <dgm:cxn modelId="{84E29256-F1F9-4B86-B699-B64FD4DBD3AE}" type="presOf" srcId="{5A8F1824-DD2D-442A-8E1A-DC14638D68B5}" destId="{C772B63C-1B3D-4E5A-9F44-864E106BDC10}" srcOrd="0" destOrd="0" presId="urn:microsoft.com/office/officeart/2005/8/layout/chart3"/>
    <dgm:cxn modelId="{E49B57D5-5EB7-4CD2-A25E-4C4B106DAB0B}" type="presOf" srcId="{5C7B6D85-F656-4835-8D36-C510D13EE993}" destId="{5584EB18-F9DD-42DE-BC66-D1A803919B6C}" srcOrd="0" destOrd="0" presId="urn:microsoft.com/office/officeart/2005/8/layout/chart3"/>
    <dgm:cxn modelId="{AA7466B1-3EC1-4492-8F29-4F620FB68EAF}" type="presOf" srcId="{C5E9D593-8BE3-432C-B28A-8631B6DD5104}" destId="{FF6010BD-018F-479A-B84B-3315E7B9FA39}" srcOrd="0" destOrd="0" presId="urn:microsoft.com/office/officeart/2005/8/layout/chart3"/>
    <dgm:cxn modelId="{B6175023-DAFB-4798-9435-D26B3D739C21}" type="presOf" srcId="{FC8C44B3-11B5-4D59-AA4C-C24E7E4AC596}" destId="{A2E4DBD9-9B0C-45C9-9ACC-8669204E3907}" srcOrd="0" destOrd="0" presId="urn:microsoft.com/office/officeart/2005/8/layout/chart3"/>
    <dgm:cxn modelId="{B02C4D71-645B-4FFA-BFB4-DAEEA7B3912A}" srcId="{C5E9D593-8BE3-432C-B28A-8631B6DD5104}" destId="{5A8F1824-DD2D-442A-8E1A-DC14638D68B5}" srcOrd="1" destOrd="0" parTransId="{786FED4F-39B6-4DDF-81AF-098F07E799D6}" sibTransId="{7F71D659-157A-4240-B5EF-1574C9BC9FC8}"/>
    <dgm:cxn modelId="{7FF6F4BB-D935-4126-87F9-E3E1F05E6964}" srcId="{C5E9D593-8BE3-432C-B28A-8631B6DD5104}" destId="{6530EB8A-7015-4817-82D2-F7A6343DF7DB}" srcOrd="3" destOrd="0" parTransId="{68AED87C-83F9-4280-A9CE-8D697B03FF66}" sibTransId="{B31FF8EB-E346-46F4-9890-927090A23570}"/>
    <dgm:cxn modelId="{EDEA717C-4C1F-4A51-9868-7448A561EB8D}" srcId="{C5E9D593-8BE3-432C-B28A-8631B6DD5104}" destId="{F4CEFDFB-C38A-4D6C-A614-F984027CB154}" srcOrd="2" destOrd="0" parTransId="{32300DFC-6024-4A5C-8839-F29B4002280B}" sibTransId="{2B342FC6-0D8A-4996-BD28-DA632D9CD1B3}"/>
    <dgm:cxn modelId="{245D53E9-A9B2-4895-95F5-FAF5D9F07AC4}" srcId="{C5E9D593-8BE3-432C-B28A-8631B6DD5104}" destId="{FC8C44B3-11B5-4D59-AA4C-C24E7E4AC596}" srcOrd="5" destOrd="0" parTransId="{E2A763E4-183B-4413-B7D4-4D3B2B4A79CE}" sibTransId="{056728AA-A518-4742-BE8A-ABF5A481550E}"/>
    <dgm:cxn modelId="{806BE860-6F3F-41A6-8292-D00C2BA2365E}" type="presOf" srcId="{5C7B6D85-F656-4835-8D36-C510D13EE993}" destId="{D40A0DBC-E111-435C-AA0F-7E8DBA425AAE}" srcOrd="1" destOrd="0" presId="urn:microsoft.com/office/officeart/2005/8/layout/chart3"/>
    <dgm:cxn modelId="{831DF961-3A0E-4494-8BA4-20B7E3C4184B}" type="presOf" srcId="{FC8C44B3-11B5-4D59-AA4C-C24E7E4AC596}" destId="{F33844B5-F32A-44B6-9CFA-573DBD7DFEEA}" srcOrd="1" destOrd="0" presId="urn:microsoft.com/office/officeart/2005/8/layout/chart3"/>
    <dgm:cxn modelId="{8C88FEBD-4A80-46A4-BF78-ABDF9583E390}" type="presParOf" srcId="{FF6010BD-018F-479A-B84B-3315E7B9FA39}" destId="{5584EB18-F9DD-42DE-BC66-D1A803919B6C}" srcOrd="0" destOrd="0" presId="urn:microsoft.com/office/officeart/2005/8/layout/chart3"/>
    <dgm:cxn modelId="{47F198FF-C608-45D2-9798-5E9800C7245E}" type="presParOf" srcId="{FF6010BD-018F-479A-B84B-3315E7B9FA39}" destId="{D40A0DBC-E111-435C-AA0F-7E8DBA425AAE}" srcOrd="1" destOrd="0" presId="urn:microsoft.com/office/officeart/2005/8/layout/chart3"/>
    <dgm:cxn modelId="{01FF3B5B-7C0E-43F6-82A6-2C81F7D18B54}" type="presParOf" srcId="{FF6010BD-018F-479A-B84B-3315E7B9FA39}" destId="{C772B63C-1B3D-4E5A-9F44-864E106BDC10}" srcOrd="2" destOrd="0" presId="urn:microsoft.com/office/officeart/2005/8/layout/chart3"/>
    <dgm:cxn modelId="{C9FAEEE6-2FE5-4045-8B7A-8FE4AFE0C0EC}" type="presParOf" srcId="{FF6010BD-018F-479A-B84B-3315E7B9FA39}" destId="{E9D201FE-7CBA-4713-BE29-1F45C8C121AF}" srcOrd="3" destOrd="0" presId="urn:microsoft.com/office/officeart/2005/8/layout/chart3"/>
    <dgm:cxn modelId="{F1B1FEF2-2FE9-480D-BFFA-3042C914FD22}" type="presParOf" srcId="{FF6010BD-018F-479A-B84B-3315E7B9FA39}" destId="{D53EA0A1-211F-425A-840F-FF28B412BF87}" srcOrd="4" destOrd="0" presId="urn:microsoft.com/office/officeart/2005/8/layout/chart3"/>
    <dgm:cxn modelId="{F06680A3-A574-4CB6-9EE3-1A976A603D01}" type="presParOf" srcId="{FF6010BD-018F-479A-B84B-3315E7B9FA39}" destId="{D9E20CC7-56EF-4A3F-90A2-232831D79677}" srcOrd="5" destOrd="0" presId="urn:microsoft.com/office/officeart/2005/8/layout/chart3"/>
    <dgm:cxn modelId="{867219FD-0159-411E-8210-5BB277BAC9DC}" type="presParOf" srcId="{FF6010BD-018F-479A-B84B-3315E7B9FA39}" destId="{D77CC484-34B8-4A2D-B515-00B47264B2A6}" srcOrd="6" destOrd="0" presId="urn:microsoft.com/office/officeart/2005/8/layout/chart3"/>
    <dgm:cxn modelId="{245BDAFA-4282-42A5-B7CB-51B1AC990AFA}" type="presParOf" srcId="{FF6010BD-018F-479A-B84B-3315E7B9FA39}" destId="{349C4DDB-DBD6-4871-8706-A313F35E0D8E}" srcOrd="7" destOrd="0" presId="urn:microsoft.com/office/officeart/2005/8/layout/chart3"/>
    <dgm:cxn modelId="{8A60D50E-27D9-4E2D-AC2F-8EE9D637FF1B}" type="presParOf" srcId="{FF6010BD-018F-479A-B84B-3315E7B9FA39}" destId="{0AB1A9F6-583B-40BE-87D7-65DC7B5FC359}" srcOrd="8" destOrd="0" presId="urn:microsoft.com/office/officeart/2005/8/layout/chart3"/>
    <dgm:cxn modelId="{515BDC04-946E-4298-95A6-7A97F97196B7}" type="presParOf" srcId="{FF6010BD-018F-479A-B84B-3315E7B9FA39}" destId="{C8069B02-831A-40B8-84CD-15A13F190D3B}" srcOrd="9" destOrd="0" presId="urn:microsoft.com/office/officeart/2005/8/layout/chart3"/>
    <dgm:cxn modelId="{80B0D0F5-248D-45F6-AAD2-EAF6AECD77AD}" type="presParOf" srcId="{FF6010BD-018F-479A-B84B-3315E7B9FA39}" destId="{A2E4DBD9-9B0C-45C9-9ACC-8669204E3907}" srcOrd="10" destOrd="0" presId="urn:microsoft.com/office/officeart/2005/8/layout/chart3"/>
    <dgm:cxn modelId="{6C03F53F-E93C-4C39-9CF5-FFE525A1B7E5}" type="presParOf" srcId="{FF6010BD-018F-479A-B84B-3315E7B9FA39}" destId="{F33844B5-F32A-44B6-9CFA-573DBD7DFEEA}" srcOrd="11" destOrd="0" presId="urn:microsoft.com/office/officeart/2005/8/layout/chart3"/>
  </dgm:cxnLst>
  <dgm:bg>
    <a:noFill/>
  </dgm:bg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8EA66CD-9F4D-429F-81C9-698107D78503}" type="doc">
      <dgm:prSet loTypeId="urn:microsoft.com/office/officeart/2005/8/layout/radial3" loCatId="cycle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649AF97-EC3B-47ED-BCA9-5332463C6478}">
      <dgm:prSet phldrT="[Text]"/>
      <dgm:spPr>
        <a:solidFill>
          <a:srgbClr val="014477"/>
        </a:solidFill>
      </dgm:spPr>
      <dgm:t>
        <a:bodyPr/>
        <a:lstStyle/>
        <a:p>
          <a:r>
            <a:rPr lang="en-US" b="1" dirty="0" smtClean="0">
              <a:solidFill>
                <a:schemeClr val="bg1"/>
              </a:solidFill>
              <a:latin typeface="+mj-lt"/>
            </a:rPr>
            <a:t>Metrics &amp; Feedback</a:t>
          </a:r>
          <a:endParaRPr lang="en-GB" b="1" dirty="0">
            <a:solidFill>
              <a:schemeClr val="bg1"/>
            </a:solidFill>
            <a:latin typeface="+mj-lt"/>
          </a:endParaRPr>
        </a:p>
      </dgm:t>
    </dgm:pt>
    <dgm:pt modelId="{50F47E20-7EE6-4701-81E7-A4400CE6FD51}" type="parTrans" cxnId="{B1776B71-1C7A-44D2-BA49-7C4DFB180BB3}">
      <dgm:prSet/>
      <dgm:spPr/>
      <dgm:t>
        <a:bodyPr/>
        <a:lstStyle/>
        <a:p>
          <a:endParaRPr lang="en-GB"/>
        </a:p>
      </dgm:t>
    </dgm:pt>
    <dgm:pt modelId="{49F886DB-F189-4ED1-8365-343CF90AD0A7}" type="sibTrans" cxnId="{B1776B71-1C7A-44D2-BA49-7C4DFB180BB3}">
      <dgm:prSet/>
      <dgm:spPr/>
      <dgm:t>
        <a:bodyPr/>
        <a:lstStyle/>
        <a:p>
          <a:endParaRPr lang="en-GB"/>
        </a:p>
      </dgm:t>
    </dgm:pt>
    <dgm:pt modelId="{20988C52-7687-4324-8C24-BCACC94C0549}" type="pres">
      <dgm:prSet presAssocID="{48EA66CD-9F4D-429F-81C9-698107D78503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EE550A31-514A-43D1-94B2-12A41B302CAA}" type="pres">
      <dgm:prSet presAssocID="{48EA66CD-9F4D-429F-81C9-698107D78503}" presName="radial" presStyleCnt="0">
        <dgm:presLayoutVars>
          <dgm:animLvl val="ctr"/>
        </dgm:presLayoutVars>
      </dgm:prSet>
      <dgm:spPr/>
    </dgm:pt>
    <dgm:pt modelId="{6E0040C2-C2AB-476B-8E60-513C28AD884E}" type="pres">
      <dgm:prSet presAssocID="{6649AF97-EC3B-47ED-BCA9-5332463C6478}" presName="centerShape" presStyleLbl="vennNode1" presStyleIdx="0" presStyleCnt="1" custLinFactNeighborX="2640" custLinFactNeighborY="728"/>
      <dgm:spPr/>
      <dgm:t>
        <a:bodyPr/>
        <a:lstStyle/>
        <a:p>
          <a:endParaRPr lang="en-GB"/>
        </a:p>
      </dgm:t>
    </dgm:pt>
  </dgm:ptLst>
  <dgm:cxnLst>
    <dgm:cxn modelId="{9BE4E05B-2061-4E8B-B6F0-58F334DF7C01}" type="presOf" srcId="{48EA66CD-9F4D-429F-81C9-698107D78503}" destId="{20988C52-7687-4324-8C24-BCACC94C0549}" srcOrd="0" destOrd="0" presId="urn:microsoft.com/office/officeart/2005/8/layout/radial3"/>
    <dgm:cxn modelId="{B1776B71-1C7A-44D2-BA49-7C4DFB180BB3}" srcId="{48EA66CD-9F4D-429F-81C9-698107D78503}" destId="{6649AF97-EC3B-47ED-BCA9-5332463C6478}" srcOrd="0" destOrd="0" parTransId="{50F47E20-7EE6-4701-81E7-A4400CE6FD51}" sibTransId="{49F886DB-F189-4ED1-8365-343CF90AD0A7}"/>
    <dgm:cxn modelId="{A8027CFE-A460-4839-B618-02B8A036A682}" type="presOf" srcId="{6649AF97-EC3B-47ED-BCA9-5332463C6478}" destId="{6E0040C2-C2AB-476B-8E60-513C28AD884E}" srcOrd="0" destOrd="0" presId="urn:microsoft.com/office/officeart/2005/8/layout/radial3"/>
    <dgm:cxn modelId="{DCBC3EAF-6BB5-4FEA-A6E2-0FC2DF02D48D}" type="presParOf" srcId="{20988C52-7687-4324-8C24-BCACC94C0549}" destId="{EE550A31-514A-43D1-94B2-12A41B302CAA}" srcOrd="0" destOrd="0" presId="urn:microsoft.com/office/officeart/2005/8/layout/radial3"/>
    <dgm:cxn modelId="{17DC95E6-26C8-4211-961E-4D1E0BABE03F}" type="presParOf" srcId="{EE550A31-514A-43D1-94B2-12A41B302CAA}" destId="{6E0040C2-C2AB-476B-8E60-513C28AD884E}" srcOrd="0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xmlns="" relId="rId14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B50BC7A-E7E8-409A-AEC3-710871EA98D6}" type="doc">
      <dgm:prSet loTypeId="urn:microsoft.com/office/officeart/2005/8/layout/chart3" loCatId="cycle" qsTypeId="urn:microsoft.com/office/officeart/2005/8/quickstyle/3d2" qsCatId="3D" csTypeId="urn:microsoft.com/office/officeart/2005/8/colors/accent1_2" csCatId="accent1" phldr="1"/>
      <dgm:spPr/>
    </dgm:pt>
    <dgm:pt modelId="{7D1528A3-38E2-4E78-9350-58D0D37CA8C9}">
      <dgm:prSet phldrT="[Text]"/>
      <dgm:spPr>
        <a:solidFill>
          <a:srgbClr val="A50021"/>
        </a:solidFill>
      </dgm:spPr>
      <dgm:t>
        <a:bodyPr/>
        <a:lstStyle/>
        <a:p>
          <a:r>
            <a:rPr lang="en-US" b="1" dirty="0" smtClean="0"/>
            <a:t>Performance Management</a:t>
          </a:r>
          <a:endParaRPr lang="en-GB" b="1" dirty="0"/>
        </a:p>
      </dgm:t>
    </dgm:pt>
    <dgm:pt modelId="{61A0C7B5-32AB-442C-969A-50B5E52315B3}" type="parTrans" cxnId="{35B59928-5FEE-4D70-B3BF-0BFD9BD1A85F}">
      <dgm:prSet/>
      <dgm:spPr/>
      <dgm:t>
        <a:bodyPr/>
        <a:lstStyle/>
        <a:p>
          <a:endParaRPr lang="en-GB"/>
        </a:p>
      </dgm:t>
    </dgm:pt>
    <dgm:pt modelId="{7729E7E0-A8EE-4D65-A3BD-FE69F0D7C316}" type="sibTrans" cxnId="{35B59928-5FEE-4D70-B3BF-0BFD9BD1A85F}">
      <dgm:prSet/>
      <dgm:spPr/>
      <dgm:t>
        <a:bodyPr/>
        <a:lstStyle/>
        <a:p>
          <a:endParaRPr lang="en-GB"/>
        </a:p>
      </dgm:t>
    </dgm:pt>
    <dgm:pt modelId="{72DBCA6A-7848-467B-BDC0-A5B28359FC34}">
      <dgm:prSet phldrT="[Text]"/>
      <dgm:spPr>
        <a:solidFill>
          <a:srgbClr val="A50021"/>
        </a:solidFill>
      </dgm:spPr>
      <dgm:t>
        <a:bodyPr/>
        <a:lstStyle/>
        <a:p>
          <a:r>
            <a:rPr lang="en-US" b="1" dirty="0" smtClean="0"/>
            <a:t>Reward Management</a:t>
          </a:r>
          <a:endParaRPr lang="en-GB" b="1" dirty="0"/>
        </a:p>
      </dgm:t>
    </dgm:pt>
    <dgm:pt modelId="{350C2CE2-1200-45CA-962B-0F6FF13B2079}" type="parTrans" cxnId="{E7BA3A59-C054-4796-8E3B-2FE70A88FD20}">
      <dgm:prSet/>
      <dgm:spPr/>
      <dgm:t>
        <a:bodyPr/>
        <a:lstStyle/>
        <a:p>
          <a:endParaRPr lang="en-GB"/>
        </a:p>
      </dgm:t>
    </dgm:pt>
    <dgm:pt modelId="{02D6F883-83D8-4AE0-8E9B-F81D1974BF40}" type="sibTrans" cxnId="{E7BA3A59-C054-4796-8E3B-2FE70A88FD20}">
      <dgm:prSet/>
      <dgm:spPr/>
      <dgm:t>
        <a:bodyPr/>
        <a:lstStyle/>
        <a:p>
          <a:endParaRPr lang="en-GB"/>
        </a:p>
      </dgm:t>
    </dgm:pt>
    <dgm:pt modelId="{06D6D8E8-D62B-4BA2-89A0-84A58597C5A0}">
      <dgm:prSet phldrT="[Text]"/>
      <dgm:spPr>
        <a:solidFill>
          <a:srgbClr val="A50021"/>
        </a:solidFill>
      </dgm:spPr>
      <dgm:t>
        <a:bodyPr/>
        <a:lstStyle/>
        <a:p>
          <a:r>
            <a:rPr lang="en-US" b="1" dirty="0" smtClean="0"/>
            <a:t>HR Strategy &amp; Planning</a:t>
          </a:r>
          <a:endParaRPr lang="en-GB" b="1" dirty="0"/>
        </a:p>
      </dgm:t>
    </dgm:pt>
    <dgm:pt modelId="{ABED83BE-30C4-44DE-9B25-B53080DFA8D9}" type="parTrans" cxnId="{7E2A7175-C04B-4611-AB64-414834ABAA65}">
      <dgm:prSet/>
      <dgm:spPr/>
      <dgm:t>
        <a:bodyPr/>
        <a:lstStyle/>
        <a:p>
          <a:endParaRPr lang="en-GB"/>
        </a:p>
      </dgm:t>
    </dgm:pt>
    <dgm:pt modelId="{B29FB2B1-5D57-4177-B619-7644A799A143}" type="sibTrans" cxnId="{7E2A7175-C04B-4611-AB64-414834ABAA65}">
      <dgm:prSet/>
      <dgm:spPr/>
      <dgm:t>
        <a:bodyPr/>
        <a:lstStyle/>
        <a:p>
          <a:endParaRPr lang="en-GB"/>
        </a:p>
      </dgm:t>
    </dgm:pt>
    <dgm:pt modelId="{67B5556D-CC5F-4723-BC6A-9DF93668D976}">
      <dgm:prSet/>
      <dgm:spPr>
        <a:solidFill>
          <a:srgbClr val="A50021"/>
        </a:solidFill>
      </dgm:spPr>
      <dgm:t>
        <a:bodyPr/>
        <a:lstStyle/>
        <a:p>
          <a:r>
            <a:rPr lang="en-US" dirty="0" smtClean="0"/>
            <a:t>  </a:t>
          </a:r>
          <a:r>
            <a:rPr lang="en-US" b="1" dirty="0" smtClean="0"/>
            <a:t>Organisation Design</a:t>
          </a:r>
          <a:endParaRPr lang="en-GB" b="1" dirty="0"/>
        </a:p>
      </dgm:t>
    </dgm:pt>
    <dgm:pt modelId="{5C9A925C-FBD3-420F-9228-24280B35E753}" type="parTrans" cxnId="{2E786A44-CFE2-48C4-A765-5821C0BC864E}">
      <dgm:prSet/>
      <dgm:spPr/>
      <dgm:t>
        <a:bodyPr/>
        <a:lstStyle/>
        <a:p>
          <a:endParaRPr lang="en-GB"/>
        </a:p>
      </dgm:t>
    </dgm:pt>
    <dgm:pt modelId="{267B6CD7-94D2-4D5B-A18D-CC538DA4BF9A}" type="sibTrans" cxnId="{2E786A44-CFE2-48C4-A765-5821C0BC864E}">
      <dgm:prSet/>
      <dgm:spPr/>
      <dgm:t>
        <a:bodyPr/>
        <a:lstStyle/>
        <a:p>
          <a:endParaRPr lang="en-GB"/>
        </a:p>
      </dgm:t>
    </dgm:pt>
    <dgm:pt modelId="{FC4BBB54-8795-471A-BE40-94B08251BA41}" type="pres">
      <dgm:prSet presAssocID="{8B50BC7A-E7E8-409A-AEC3-710871EA98D6}" presName="compositeShape" presStyleCnt="0">
        <dgm:presLayoutVars>
          <dgm:chMax val="7"/>
          <dgm:dir/>
          <dgm:resizeHandles val="exact"/>
        </dgm:presLayoutVars>
      </dgm:prSet>
      <dgm:spPr/>
    </dgm:pt>
    <dgm:pt modelId="{089EA6C9-0271-4628-B499-84073115EC84}" type="pres">
      <dgm:prSet presAssocID="{8B50BC7A-E7E8-409A-AEC3-710871EA98D6}" presName="wedge1" presStyleLbl="node1" presStyleIdx="0" presStyleCnt="4" custLinFactNeighborX="-6119" custLinFactNeighborY="5017"/>
      <dgm:spPr/>
      <dgm:t>
        <a:bodyPr/>
        <a:lstStyle/>
        <a:p>
          <a:endParaRPr lang="en-GB"/>
        </a:p>
      </dgm:t>
    </dgm:pt>
    <dgm:pt modelId="{CF00949D-1C5E-400E-84DE-FCFB6D65BFF9}" type="pres">
      <dgm:prSet presAssocID="{8B50BC7A-E7E8-409A-AEC3-710871EA98D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FF584D-98CA-4EDD-BB48-4ABBC47FD008}" type="pres">
      <dgm:prSet presAssocID="{8B50BC7A-E7E8-409A-AEC3-710871EA98D6}" presName="wedge2" presStyleLbl="node1" presStyleIdx="1" presStyleCnt="4" custLinFactNeighborX="-1905"/>
      <dgm:spPr/>
      <dgm:t>
        <a:bodyPr/>
        <a:lstStyle/>
        <a:p>
          <a:endParaRPr lang="en-GB"/>
        </a:p>
      </dgm:t>
    </dgm:pt>
    <dgm:pt modelId="{4AA052B4-9457-4069-ACA2-35F18B9656C4}" type="pres">
      <dgm:prSet presAssocID="{8B50BC7A-E7E8-409A-AEC3-710871EA98D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A1FB82E-4DB0-425E-B3D1-6D1482FAD8AF}" type="pres">
      <dgm:prSet presAssocID="{8B50BC7A-E7E8-409A-AEC3-710871EA98D6}" presName="wedge3" presStyleLbl="node1" presStyleIdx="2" presStyleCnt="4" custLinFactNeighborX="-1905"/>
      <dgm:spPr/>
      <dgm:t>
        <a:bodyPr/>
        <a:lstStyle/>
        <a:p>
          <a:endParaRPr lang="en-GB"/>
        </a:p>
      </dgm:t>
    </dgm:pt>
    <dgm:pt modelId="{6292AABF-E936-4D28-8BC0-4DABB6EB4649}" type="pres">
      <dgm:prSet presAssocID="{8B50BC7A-E7E8-409A-AEC3-710871EA98D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43E59EC-F2BC-4C2D-9AF5-2052E177B89F}" type="pres">
      <dgm:prSet presAssocID="{8B50BC7A-E7E8-409A-AEC3-710871EA98D6}" presName="wedge4" presStyleLbl="node1" presStyleIdx="3" presStyleCnt="4" custLinFactNeighborX="-1905" custLinFactNeighborY="803"/>
      <dgm:spPr/>
      <dgm:t>
        <a:bodyPr/>
        <a:lstStyle/>
        <a:p>
          <a:endParaRPr lang="en-GB"/>
        </a:p>
      </dgm:t>
    </dgm:pt>
    <dgm:pt modelId="{AD95B034-23C5-4D65-AB66-3A8C3BAA5C7B}" type="pres">
      <dgm:prSet presAssocID="{8B50BC7A-E7E8-409A-AEC3-710871EA98D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22716C2B-71B0-47E6-8892-A8892D4AA10F}" type="presOf" srcId="{06D6D8E8-D62B-4BA2-89A0-84A58597C5A0}" destId="{943E59EC-F2BC-4C2D-9AF5-2052E177B89F}" srcOrd="0" destOrd="0" presId="urn:microsoft.com/office/officeart/2005/8/layout/chart3"/>
    <dgm:cxn modelId="{CAF67732-C28F-4425-9DB7-31B712914852}" type="presOf" srcId="{8B50BC7A-E7E8-409A-AEC3-710871EA98D6}" destId="{FC4BBB54-8795-471A-BE40-94B08251BA41}" srcOrd="0" destOrd="0" presId="urn:microsoft.com/office/officeart/2005/8/layout/chart3"/>
    <dgm:cxn modelId="{7E2A7175-C04B-4611-AB64-414834ABAA65}" srcId="{8B50BC7A-E7E8-409A-AEC3-710871EA98D6}" destId="{06D6D8E8-D62B-4BA2-89A0-84A58597C5A0}" srcOrd="3" destOrd="0" parTransId="{ABED83BE-30C4-44DE-9B25-B53080DFA8D9}" sibTransId="{B29FB2B1-5D57-4177-B619-7644A799A143}"/>
    <dgm:cxn modelId="{99AC3EBE-7355-419C-8894-EBECE189E47C}" type="presOf" srcId="{7D1528A3-38E2-4E78-9350-58D0D37CA8C9}" destId="{CF00949D-1C5E-400E-84DE-FCFB6D65BFF9}" srcOrd="1" destOrd="0" presId="urn:microsoft.com/office/officeart/2005/8/layout/chart3"/>
    <dgm:cxn modelId="{E7BA3A59-C054-4796-8E3B-2FE70A88FD20}" srcId="{8B50BC7A-E7E8-409A-AEC3-710871EA98D6}" destId="{72DBCA6A-7848-467B-BDC0-A5B28359FC34}" srcOrd="2" destOrd="0" parTransId="{350C2CE2-1200-45CA-962B-0F6FF13B2079}" sibTransId="{02D6F883-83D8-4AE0-8E9B-F81D1974BF40}"/>
    <dgm:cxn modelId="{556D2299-D83C-4DB5-A663-EB5EB1B5793B}" type="presOf" srcId="{67B5556D-CC5F-4723-BC6A-9DF93668D976}" destId="{4AA052B4-9457-4069-ACA2-35F18B9656C4}" srcOrd="1" destOrd="0" presId="urn:microsoft.com/office/officeart/2005/8/layout/chart3"/>
    <dgm:cxn modelId="{BB45241E-DCFD-4AB5-96F3-17CD9C3109FA}" type="presOf" srcId="{06D6D8E8-D62B-4BA2-89A0-84A58597C5A0}" destId="{AD95B034-23C5-4D65-AB66-3A8C3BAA5C7B}" srcOrd="1" destOrd="0" presId="urn:microsoft.com/office/officeart/2005/8/layout/chart3"/>
    <dgm:cxn modelId="{FDA4C864-E7A4-4FDB-963D-7E0CE725153B}" type="presOf" srcId="{72DBCA6A-7848-467B-BDC0-A5B28359FC34}" destId="{0A1FB82E-4DB0-425E-B3D1-6D1482FAD8AF}" srcOrd="0" destOrd="0" presId="urn:microsoft.com/office/officeart/2005/8/layout/chart3"/>
    <dgm:cxn modelId="{819BA1C4-DFB0-4DF8-84CA-BCEA41BA6895}" type="presOf" srcId="{72DBCA6A-7848-467B-BDC0-A5B28359FC34}" destId="{6292AABF-E936-4D28-8BC0-4DABB6EB4649}" srcOrd="1" destOrd="0" presId="urn:microsoft.com/office/officeart/2005/8/layout/chart3"/>
    <dgm:cxn modelId="{2E786A44-CFE2-48C4-A765-5821C0BC864E}" srcId="{8B50BC7A-E7E8-409A-AEC3-710871EA98D6}" destId="{67B5556D-CC5F-4723-BC6A-9DF93668D976}" srcOrd="1" destOrd="0" parTransId="{5C9A925C-FBD3-420F-9228-24280B35E753}" sibTransId="{267B6CD7-94D2-4D5B-A18D-CC538DA4BF9A}"/>
    <dgm:cxn modelId="{35B59928-5FEE-4D70-B3BF-0BFD9BD1A85F}" srcId="{8B50BC7A-E7E8-409A-AEC3-710871EA98D6}" destId="{7D1528A3-38E2-4E78-9350-58D0D37CA8C9}" srcOrd="0" destOrd="0" parTransId="{61A0C7B5-32AB-442C-969A-50B5E52315B3}" sibTransId="{7729E7E0-A8EE-4D65-A3BD-FE69F0D7C316}"/>
    <dgm:cxn modelId="{0A172184-537B-4364-BC29-EAB94A024771}" type="presOf" srcId="{67B5556D-CC5F-4723-BC6A-9DF93668D976}" destId="{A2FF584D-98CA-4EDD-BB48-4ABBC47FD008}" srcOrd="0" destOrd="0" presId="urn:microsoft.com/office/officeart/2005/8/layout/chart3"/>
    <dgm:cxn modelId="{69531816-19B7-4778-B7E9-B739BFCB375B}" type="presOf" srcId="{7D1528A3-38E2-4E78-9350-58D0D37CA8C9}" destId="{089EA6C9-0271-4628-B499-84073115EC84}" srcOrd="0" destOrd="0" presId="urn:microsoft.com/office/officeart/2005/8/layout/chart3"/>
    <dgm:cxn modelId="{03718088-2B6A-4A56-B7C9-BBFA1F7F9BA4}" type="presParOf" srcId="{FC4BBB54-8795-471A-BE40-94B08251BA41}" destId="{089EA6C9-0271-4628-B499-84073115EC84}" srcOrd="0" destOrd="0" presId="urn:microsoft.com/office/officeart/2005/8/layout/chart3"/>
    <dgm:cxn modelId="{95113EE2-F88C-4F2E-8D18-E5ECB825F593}" type="presParOf" srcId="{FC4BBB54-8795-471A-BE40-94B08251BA41}" destId="{CF00949D-1C5E-400E-84DE-FCFB6D65BFF9}" srcOrd="1" destOrd="0" presId="urn:microsoft.com/office/officeart/2005/8/layout/chart3"/>
    <dgm:cxn modelId="{B3162096-4FC3-4C18-A518-6123B113EEAA}" type="presParOf" srcId="{FC4BBB54-8795-471A-BE40-94B08251BA41}" destId="{A2FF584D-98CA-4EDD-BB48-4ABBC47FD008}" srcOrd="2" destOrd="0" presId="urn:microsoft.com/office/officeart/2005/8/layout/chart3"/>
    <dgm:cxn modelId="{D8AA0D97-4078-4E2F-8CCB-76A4B13E1072}" type="presParOf" srcId="{FC4BBB54-8795-471A-BE40-94B08251BA41}" destId="{4AA052B4-9457-4069-ACA2-35F18B9656C4}" srcOrd="3" destOrd="0" presId="urn:microsoft.com/office/officeart/2005/8/layout/chart3"/>
    <dgm:cxn modelId="{2784F0BB-E9AA-40F3-9A69-559FE3A442D1}" type="presParOf" srcId="{FC4BBB54-8795-471A-BE40-94B08251BA41}" destId="{0A1FB82E-4DB0-425E-B3D1-6D1482FAD8AF}" srcOrd="4" destOrd="0" presId="urn:microsoft.com/office/officeart/2005/8/layout/chart3"/>
    <dgm:cxn modelId="{C21F7150-8C23-45DB-B6F6-BEB940BFB802}" type="presParOf" srcId="{FC4BBB54-8795-471A-BE40-94B08251BA41}" destId="{6292AABF-E936-4D28-8BC0-4DABB6EB4649}" srcOrd="5" destOrd="0" presId="urn:microsoft.com/office/officeart/2005/8/layout/chart3"/>
    <dgm:cxn modelId="{B870307F-3FCF-421A-888E-59B827F7567F}" type="presParOf" srcId="{FC4BBB54-8795-471A-BE40-94B08251BA41}" destId="{943E59EC-F2BC-4C2D-9AF5-2052E177B89F}" srcOrd="6" destOrd="0" presId="urn:microsoft.com/office/officeart/2005/8/layout/chart3"/>
    <dgm:cxn modelId="{9FE09EAD-A491-4CDC-BC6F-4D5D985546EC}" type="presParOf" srcId="{FC4BBB54-8795-471A-BE40-94B08251BA41}" destId="{AD95B034-23C5-4D65-AB66-3A8C3BAA5C7B}" srcOrd="7" destOrd="0" presId="urn:microsoft.com/office/officeart/2005/8/layout/chart3"/>
  </dgm:cxnLst>
  <dgm:bg>
    <a:noFill/>
  </dgm:bg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8B50BC7A-E7E8-409A-AEC3-710871EA98D6}" type="doc">
      <dgm:prSet loTypeId="urn:microsoft.com/office/officeart/2005/8/layout/chart3" loCatId="cycle" qsTypeId="urn:microsoft.com/office/officeart/2005/8/quickstyle/3d2" qsCatId="3D" csTypeId="urn:microsoft.com/office/officeart/2005/8/colors/accent1_2" csCatId="accent1" phldr="1"/>
      <dgm:spPr/>
    </dgm:pt>
    <dgm:pt modelId="{7D1528A3-38E2-4E78-9350-58D0D37CA8C9}">
      <dgm:prSet phldrT="[Text]" custT="1"/>
      <dgm:spPr>
        <a:solidFill>
          <a:srgbClr val="A50021"/>
        </a:solidFill>
      </dgm:spPr>
      <dgm:t>
        <a:bodyPr/>
        <a:lstStyle/>
        <a:p>
          <a:r>
            <a:rPr lang="en-US" sz="300" b="1" dirty="0" smtClean="0"/>
            <a:t>Performance Management</a:t>
          </a:r>
          <a:endParaRPr lang="en-GB" sz="300" b="1" dirty="0"/>
        </a:p>
      </dgm:t>
    </dgm:pt>
    <dgm:pt modelId="{61A0C7B5-32AB-442C-969A-50B5E52315B3}" type="parTrans" cxnId="{35B59928-5FEE-4D70-B3BF-0BFD9BD1A85F}">
      <dgm:prSet/>
      <dgm:spPr/>
      <dgm:t>
        <a:bodyPr/>
        <a:lstStyle/>
        <a:p>
          <a:endParaRPr lang="en-GB"/>
        </a:p>
      </dgm:t>
    </dgm:pt>
    <dgm:pt modelId="{7729E7E0-A8EE-4D65-A3BD-FE69F0D7C316}" type="sibTrans" cxnId="{35B59928-5FEE-4D70-B3BF-0BFD9BD1A85F}">
      <dgm:prSet/>
      <dgm:spPr/>
      <dgm:t>
        <a:bodyPr/>
        <a:lstStyle/>
        <a:p>
          <a:endParaRPr lang="en-GB"/>
        </a:p>
      </dgm:t>
    </dgm:pt>
    <dgm:pt modelId="{72DBCA6A-7848-467B-BDC0-A5B28359FC34}">
      <dgm:prSet phldrT="[Text]" custT="1"/>
      <dgm:spPr>
        <a:solidFill>
          <a:srgbClr val="A50021"/>
        </a:solidFill>
      </dgm:spPr>
      <dgm:t>
        <a:bodyPr/>
        <a:lstStyle/>
        <a:p>
          <a:r>
            <a:rPr lang="en-US" sz="300" b="1" dirty="0" smtClean="0"/>
            <a:t>Reward Management</a:t>
          </a:r>
          <a:endParaRPr lang="en-GB" sz="300" b="1" dirty="0"/>
        </a:p>
      </dgm:t>
    </dgm:pt>
    <dgm:pt modelId="{350C2CE2-1200-45CA-962B-0F6FF13B2079}" type="parTrans" cxnId="{E7BA3A59-C054-4796-8E3B-2FE70A88FD20}">
      <dgm:prSet/>
      <dgm:spPr/>
      <dgm:t>
        <a:bodyPr/>
        <a:lstStyle/>
        <a:p>
          <a:endParaRPr lang="en-GB"/>
        </a:p>
      </dgm:t>
    </dgm:pt>
    <dgm:pt modelId="{02D6F883-83D8-4AE0-8E9B-F81D1974BF40}" type="sibTrans" cxnId="{E7BA3A59-C054-4796-8E3B-2FE70A88FD20}">
      <dgm:prSet/>
      <dgm:spPr/>
      <dgm:t>
        <a:bodyPr/>
        <a:lstStyle/>
        <a:p>
          <a:endParaRPr lang="en-GB"/>
        </a:p>
      </dgm:t>
    </dgm:pt>
    <dgm:pt modelId="{06D6D8E8-D62B-4BA2-89A0-84A58597C5A0}">
      <dgm:prSet phldrT="[Text]" custT="1"/>
      <dgm:spPr>
        <a:solidFill>
          <a:srgbClr val="A50021"/>
        </a:solidFill>
      </dgm:spPr>
      <dgm:t>
        <a:bodyPr/>
        <a:lstStyle/>
        <a:p>
          <a:r>
            <a:rPr lang="en-US" sz="300" b="1" dirty="0" smtClean="0"/>
            <a:t>HR Strategy &amp; Planning</a:t>
          </a:r>
          <a:endParaRPr lang="en-GB" sz="300" b="1" dirty="0"/>
        </a:p>
      </dgm:t>
    </dgm:pt>
    <dgm:pt modelId="{ABED83BE-30C4-44DE-9B25-B53080DFA8D9}" type="parTrans" cxnId="{7E2A7175-C04B-4611-AB64-414834ABAA65}">
      <dgm:prSet/>
      <dgm:spPr/>
      <dgm:t>
        <a:bodyPr/>
        <a:lstStyle/>
        <a:p>
          <a:endParaRPr lang="en-GB"/>
        </a:p>
      </dgm:t>
    </dgm:pt>
    <dgm:pt modelId="{B29FB2B1-5D57-4177-B619-7644A799A143}" type="sibTrans" cxnId="{7E2A7175-C04B-4611-AB64-414834ABAA65}">
      <dgm:prSet/>
      <dgm:spPr/>
      <dgm:t>
        <a:bodyPr/>
        <a:lstStyle/>
        <a:p>
          <a:endParaRPr lang="en-GB"/>
        </a:p>
      </dgm:t>
    </dgm:pt>
    <dgm:pt modelId="{67B5556D-CC5F-4723-BC6A-9DF93668D976}">
      <dgm:prSet custT="1"/>
      <dgm:spPr>
        <a:solidFill>
          <a:srgbClr val="A50021"/>
        </a:solidFill>
      </dgm:spPr>
      <dgm:t>
        <a:bodyPr/>
        <a:lstStyle/>
        <a:p>
          <a:r>
            <a:rPr lang="en-US" sz="500" dirty="0" smtClean="0"/>
            <a:t>  </a:t>
          </a:r>
          <a:r>
            <a:rPr lang="en-US" sz="300" b="1" dirty="0" smtClean="0"/>
            <a:t>Organisation Design</a:t>
          </a:r>
          <a:endParaRPr lang="en-GB" sz="400" b="1" dirty="0"/>
        </a:p>
      </dgm:t>
    </dgm:pt>
    <dgm:pt modelId="{5C9A925C-FBD3-420F-9228-24280B35E753}" type="parTrans" cxnId="{2E786A44-CFE2-48C4-A765-5821C0BC864E}">
      <dgm:prSet/>
      <dgm:spPr/>
      <dgm:t>
        <a:bodyPr/>
        <a:lstStyle/>
        <a:p>
          <a:endParaRPr lang="en-GB"/>
        </a:p>
      </dgm:t>
    </dgm:pt>
    <dgm:pt modelId="{267B6CD7-94D2-4D5B-A18D-CC538DA4BF9A}" type="sibTrans" cxnId="{2E786A44-CFE2-48C4-A765-5821C0BC864E}">
      <dgm:prSet/>
      <dgm:spPr/>
      <dgm:t>
        <a:bodyPr/>
        <a:lstStyle/>
        <a:p>
          <a:endParaRPr lang="en-GB"/>
        </a:p>
      </dgm:t>
    </dgm:pt>
    <dgm:pt modelId="{FC4BBB54-8795-471A-BE40-94B08251BA41}" type="pres">
      <dgm:prSet presAssocID="{8B50BC7A-E7E8-409A-AEC3-710871EA98D6}" presName="compositeShape" presStyleCnt="0">
        <dgm:presLayoutVars>
          <dgm:chMax val="7"/>
          <dgm:dir/>
          <dgm:resizeHandles val="exact"/>
        </dgm:presLayoutVars>
      </dgm:prSet>
      <dgm:spPr/>
    </dgm:pt>
    <dgm:pt modelId="{089EA6C9-0271-4628-B499-84073115EC84}" type="pres">
      <dgm:prSet presAssocID="{8B50BC7A-E7E8-409A-AEC3-710871EA98D6}" presName="wedge1" presStyleLbl="node1" presStyleIdx="0" presStyleCnt="4" custLinFactNeighborX="-6119" custLinFactNeighborY="5017"/>
      <dgm:spPr/>
      <dgm:t>
        <a:bodyPr/>
        <a:lstStyle/>
        <a:p>
          <a:endParaRPr lang="en-GB"/>
        </a:p>
      </dgm:t>
    </dgm:pt>
    <dgm:pt modelId="{CF00949D-1C5E-400E-84DE-FCFB6D65BFF9}" type="pres">
      <dgm:prSet presAssocID="{8B50BC7A-E7E8-409A-AEC3-710871EA98D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FF584D-98CA-4EDD-BB48-4ABBC47FD008}" type="pres">
      <dgm:prSet presAssocID="{8B50BC7A-E7E8-409A-AEC3-710871EA98D6}" presName="wedge2" presStyleLbl="node1" presStyleIdx="1" presStyleCnt="4" custLinFactNeighborX="-1905"/>
      <dgm:spPr/>
      <dgm:t>
        <a:bodyPr/>
        <a:lstStyle/>
        <a:p>
          <a:endParaRPr lang="en-GB"/>
        </a:p>
      </dgm:t>
    </dgm:pt>
    <dgm:pt modelId="{4AA052B4-9457-4069-ACA2-35F18B9656C4}" type="pres">
      <dgm:prSet presAssocID="{8B50BC7A-E7E8-409A-AEC3-710871EA98D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A1FB82E-4DB0-425E-B3D1-6D1482FAD8AF}" type="pres">
      <dgm:prSet presAssocID="{8B50BC7A-E7E8-409A-AEC3-710871EA98D6}" presName="wedge3" presStyleLbl="node1" presStyleIdx="2" presStyleCnt="4" custLinFactNeighborX="-1905"/>
      <dgm:spPr/>
      <dgm:t>
        <a:bodyPr/>
        <a:lstStyle/>
        <a:p>
          <a:endParaRPr lang="en-GB"/>
        </a:p>
      </dgm:t>
    </dgm:pt>
    <dgm:pt modelId="{6292AABF-E936-4D28-8BC0-4DABB6EB4649}" type="pres">
      <dgm:prSet presAssocID="{8B50BC7A-E7E8-409A-AEC3-710871EA98D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43E59EC-F2BC-4C2D-9AF5-2052E177B89F}" type="pres">
      <dgm:prSet presAssocID="{8B50BC7A-E7E8-409A-AEC3-710871EA98D6}" presName="wedge4" presStyleLbl="node1" presStyleIdx="3" presStyleCnt="4" custLinFactNeighborX="-11679" custLinFactNeighborY="-11043"/>
      <dgm:spPr/>
      <dgm:t>
        <a:bodyPr/>
        <a:lstStyle/>
        <a:p>
          <a:endParaRPr lang="en-GB"/>
        </a:p>
      </dgm:t>
    </dgm:pt>
    <dgm:pt modelId="{AD95B034-23C5-4D65-AB66-3A8C3BAA5C7B}" type="pres">
      <dgm:prSet presAssocID="{8B50BC7A-E7E8-409A-AEC3-710871EA98D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BA8EA275-9248-4508-BC94-5D7A8F03D2FF}" type="presOf" srcId="{06D6D8E8-D62B-4BA2-89A0-84A58597C5A0}" destId="{AD95B034-23C5-4D65-AB66-3A8C3BAA5C7B}" srcOrd="1" destOrd="0" presId="urn:microsoft.com/office/officeart/2005/8/layout/chart3"/>
    <dgm:cxn modelId="{7E2A7175-C04B-4611-AB64-414834ABAA65}" srcId="{8B50BC7A-E7E8-409A-AEC3-710871EA98D6}" destId="{06D6D8E8-D62B-4BA2-89A0-84A58597C5A0}" srcOrd="3" destOrd="0" parTransId="{ABED83BE-30C4-44DE-9B25-B53080DFA8D9}" sibTransId="{B29FB2B1-5D57-4177-B619-7644A799A143}"/>
    <dgm:cxn modelId="{B60E3884-BB62-4D4B-A49B-285B3B31EBA1}" type="presOf" srcId="{72DBCA6A-7848-467B-BDC0-A5B28359FC34}" destId="{6292AABF-E936-4D28-8BC0-4DABB6EB4649}" srcOrd="1" destOrd="0" presId="urn:microsoft.com/office/officeart/2005/8/layout/chart3"/>
    <dgm:cxn modelId="{FAF784B5-CF37-4525-9519-4E6586835C04}" type="presOf" srcId="{8B50BC7A-E7E8-409A-AEC3-710871EA98D6}" destId="{FC4BBB54-8795-471A-BE40-94B08251BA41}" srcOrd="0" destOrd="0" presId="urn:microsoft.com/office/officeart/2005/8/layout/chart3"/>
    <dgm:cxn modelId="{E7BA3A59-C054-4796-8E3B-2FE70A88FD20}" srcId="{8B50BC7A-E7E8-409A-AEC3-710871EA98D6}" destId="{72DBCA6A-7848-467B-BDC0-A5B28359FC34}" srcOrd="2" destOrd="0" parTransId="{350C2CE2-1200-45CA-962B-0F6FF13B2079}" sibTransId="{02D6F883-83D8-4AE0-8E9B-F81D1974BF40}"/>
    <dgm:cxn modelId="{1785F9CC-B4E9-4BD1-9506-28A71AE5E725}" type="presOf" srcId="{72DBCA6A-7848-467B-BDC0-A5B28359FC34}" destId="{0A1FB82E-4DB0-425E-B3D1-6D1482FAD8AF}" srcOrd="0" destOrd="0" presId="urn:microsoft.com/office/officeart/2005/8/layout/chart3"/>
    <dgm:cxn modelId="{C9920E51-0E54-42EC-BBF4-9028F9661519}" type="presOf" srcId="{67B5556D-CC5F-4723-BC6A-9DF93668D976}" destId="{4AA052B4-9457-4069-ACA2-35F18B9656C4}" srcOrd="1" destOrd="0" presId="urn:microsoft.com/office/officeart/2005/8/layout/chart3"/>
    <dgm:cxn modelId="{AE9E14E1-3CAC-4D50-951D-C073C12C517A}" type="presOf" srcId="{7D1528A3-38E2-4E78-9350-58D0D37CA8C9}" destId="{CF00949D-1C5E-400E-84DE-FCFB6D65BFF9}" srcOrd="1" destOrd="0" presId="urn:microsoft.com/office/officeart/2005/8/layout/chart3"/>
    <dgm:cxn modelId="{26114172-34D1-4E2E-A2A9-93DE2D587B6A}" type="presOf" srcId="{06D6D8E8-D62B-4BA2-89A0-84A58597C5A0}" destId="{943E59EC-F2BC-4C2D-9AF5-2052E177B89F}" srcOrd="0" destOrd="0" presId="urn:microsoft.com/office/officeart/2005/8/layout/chart3"/>
    <dgm:cxn modelId="{2E786A44-CFE2-48C4-A765-5821C0BC864E}" srcId="{8B50BC7A-E7E8-409A-AEC3-710871EA98D6}" destId="{67B5556D-CC5F-4723-BC6A-9DF93668D976}" srcOrd="1" destOrd="0" parTransId="{5C9A925C-FBD3-420F-9228-24280B35E753}" sibTransId="{267B6CD7-94D2-4D5B-A18D-CC538DA4BF9A}"/>
    <dgm:cxn modelId="{35B59928-5FEE-4D70-B3BF-0BFD9BD1A85F}" srcId="{8B50BC7A-E7E8-409A-AEC3-710871EA98D6}" destId="{7D1528A3-38E2-4E78-9350-58D0D37CA8C9}" srcOrd="0" destOrd="0" parTransId="{61A0C7B5-32AB-442C-969A-50B5E52315B3}" sibTransId="{7729E7E0-A8EE-4D65-A3BD-FE69F0D7C316}"/>
    <dgm:cxn modelId="{AEBC721B-97F7-4A5C-9182-DE376FB10571}" type="presOf" srcId="{7D1528A3-38E2-4E78-9350-58D0D37CA8C9}" destId="{089EA6C9-0271-4628-B499-84073115EC84}" srcOrd="0" destOrd="0" presId="urn:microsoft.com/office/officeart/2005/8/layout/chart3"/>
    <dgm:cxn modelId="{013624FC-496F-46FB-AFF5-82FCBCC67616}" type="presOf" srcId="{67B5556D-CC5F-4723-BC6A-9DF93668D976}" destId="{A2FF584D-98CA-4EDD-BB48-4ABBC47FD008}" srcOrd="0" destOrd="0" presId="urn:microsoft.com/office/officeart/2005/8/layout/chart3"/>
    <dgm:cxn modelId="{3FCCB8D4-87A2-441D-9C16-608FD132D229}" type="presParOf" srcId="{FC4BBB54-8795-471A-BE40-94B08251BA41}" destId="{089EA6C9-0271-4628-B499-84073115EC84}" srcOrd="0" destOrd="0" presId="urn:microsoft.com/office/officeart/2005/8/layout/chart3"/>
    <dgm:cxn modelId="{8B3851AC-35C9-45AC-A8B2-02E4068972DE}" type="presParOf" srcId="{FC4BBB54-8795-471A-BE40-94B08251BA41}" destId="{CF00949D-1C5E-400E-84DE-FCFB6D65BFF9}" srcOrd="1" destOrd="0" presId="urn:microsoft.com/office/officeart/2005/8/layout/chart3"/>
    <dgm:cxn modelId="{393BCF5B-8E7E-4373-ACFB-15BA58CAA304}" type="presParOf" srcId="{FC4BBB54-8795-471A-BE40-94B08251BA41}" destId="{A2FF584D-98CA-4EDD-BB48-4ABBC47FD008}" srcOrd="2" destOrd="0" presId="urn:microsoft.com/office/officeart/2005/8/layout/chart3"/>
    <dgm:cxn modelId="{B0EC93FC-15B3-46A0-8498-4FBBD68DD9B4}" type="presParOf" srcId="{FC4BBB54-8795-471A-BE40-94B08251BA41}" destId="{4AA052B4-9457-4069-ACA2-35F18B9656C4}" srcOrd="3" destOrd="0" presId="urn:microsoft.com/office/officeart/2005/8/layout/chart3"/>
    <dgm:cxn modelId="{DD7C2CC6-8C1C-41C7-9D0C-1E6D92D7FA7D}" type="presParOf" srcId="{FC4BBB54-8795-471A-BE40-94B08251BA41}" destId="{0A1FB82E-4DB0-425E-B3D1-6D1482FAD8AF}" srcOrd="4" destOrd="0" presId="urn:microsoft.com/office/officeart/2005/8/layout/chart3"/>
    <dgm:cxn modelId="{E6A14A0B-B31F-4FAE-81A0-C5324F1A5F1C}" type="presParOf" srcId="{FC4BBB54-8795-471A-BE40-94B08251BA41}" destId="{6292AABF-E936-4D28-8BC0-4DABB6EB4649}" srcOrd="5" destOrd="0" presId="urn:microsoft.com/office/officeart/2005/8/layout/chart3"/>
    <dgm:cxn modelId="{977948D5-6CF5-4A18-A422-9AA326CFB538}" type="presParOf" srcId="{FC4BBB54-8795-471A-BE40-94B08251BA41}" destId="{943E59EC-F2BC-4C2D-9AF5-2052E177B89F}" srcOrd="6" destOrd="0" presId="urn:microsoft.com/office/officeart/2005/8/layout/chart3"/>
    <dgm:cxn modelId="{897BA3F5-4D0A-4E96-AA94-14D4C95E4D8A}" type="presParOf" srcId="{FC4BBB54-8795-471A-BE40-94B08251BA41}" destId="{AD95B034-23C5-4D65-AB66-3A8C3BAA5C7B}" srcOrd="7" destOrd="0" presId="urn:microsoft.com/office/officeart/2005/8/layout/chart3"/>
  </dgm:cxnLst>
  <dgm:bg>
    <a:noFill/>
  </dgm:bg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8B50BC7A-E7E8-409A-AEC3-710871EA98D6}" type="doc">
      <dgm:prSet loTypeId="urn:microsoft.com/office/officeart/2005/8/layout/chart3" loCatId="cycle" qsTypeId="urn:microsoft.com/office/officeart/2005/8/quickstyle/3d2" qsCatId="3D" csTypeId="urn:microsoft.com/office/officeart/2005/8/colors/accent1_2" csCatId="accent1" phldr="1"/>
      <dgm:spPr/>
    </dgm:pt>
    <dgm:pt modelId="{7D1528A3-38E2-4E78-9350-58D0D37CA8C9}">
      <dgm:prSet phldrT="[Text]" custT="1"/>
      <dgm:spPr>
        <a:solidFill>
          <a:srgbClr val="A50021"/>
        </a:solidFill>
      </dgm:spPr>
      <dgm:t>
        <a:bodyPr/>
        <a:lstStyle/>
        <a:p>
          <a:r>
            <a:rPr lang="en-US" sz="300" b="1" dirty="0" smtClean="0"/>
            <a:t>Performance Management</a:t>
          </a:r>
          <a:endParaRPr lang="en-GB" sz="300" b="1" dirty="0"/>
        </a:p>
      </dgm:t>
    </dgm:pt>
    <dgm:pt modelId="{61A0C7B5-32AB-442C-969A-50B5E52315B3}" type="parTrans" cxnId="{35B59928-5FEE-4D70-B3BF-0BFD9BD1A85F}">
      <dgm:prSet/>
      <dgm:spPr/>
      <dgm:t>
        <a:bodyPr/>
        <a:lstStyle/>
        <a:p>
          <a:endParaRPr lang="en-GB"/>
        </a:p>
      </dgm:t>
    </dgm:pt>
    <dgm:pt modelId="{7729E7E0-A8EE-4D65-A3BD-FE69F0D7C316}" type="sibTrans" cxnId="{35B59928-5FEE-4D70-B3BF-0BFD9BD1A85F}">
      <dgm:prSet/>
      <dgm:spPr/>
      <dgm:t>
        <a:bodyPr/>
        <a:lstStyle/>
        <a:p>
          <a:endParaRPr lang="en-GB"/>
        </a:p>
      </dgm:t>
    </dgm:pt>
    <dgm:pt modelId="{72DBCA6A-7848-467B-BDC0-A5B28359FC34}">
      <dgm:prSet phldrT="[Text]" custT="1"/>
      <dgm:spPr>
        <a:solidFill>
          <a:srgbClr val="A50021"/>
        </a:solidFill>
      </dgm:spPr>
      <dgm:t>
        <a:bodyPr/>
        <a:lstStyle/>
        <a:p>
          <a:r>
            <a:rPr lang="en-US" sz="300" b="1" dirty="0" smtClean="0"/>
            <a:t>Reward Management</a:t>
          </a:r>
          <a:endParaRPr lang="en-GB" sz="300" b="1" dirty="0"/>
        </a:p>
      </dgm:t>
    </dgm:pt>
    <dgm:pt modelId="{350C2CE2-1200-45CA-962B-0F6FF13B2079}" type="parTrans" cxnId="{E7BA3A59-C054-4796-8E3B-2FE70A88FD20}">
      <dgm:prSet/>
      <dgm:spPr/>
      <dgm:t>
        <a:bodyPr/>
        <a:lstStyle/>
        <a:p>
          <a:endParaRPr lang="en-GB"/>
        </a:p>
      </dgm:t>
    </dgm:pt>
    <dgm:pt modelId="{02D6F883-83D8-4AE0-8E9B-F81D1974BF40}" type="sibTrans" cxnId="{E7BA3A59-C054-4796-8E3B-2FE70A88FD20}">
      <dgm:prSet/>
      <dgm:spPr/>
      <dgm:t>
        <a:bodyPr/>
        <a:lstStyle/>
        <a:p>
          <a:endParaRPr lang="en-GB"/>
        </a:p>
      </dgm:t>
    </dgm:pt>
    <dgm:pt modelId="{06D6D8E8-D62B-4BA2-89A0-84A58597C5A0}">
      <dgm:prSet phldrT="[Text]" custT="1"/>
      <dgm:spPr>
        <a:solidFill>
          <a:srgbClr val="A50021"/>
        </a:solidFill>
      </dgm:spPr>
      <dgm:t>
        <a:bodyPr/>
        <a:lstStyle/>
        <a:p>
          <a:r>
            <a:rPr lang="en-US" sz="300" b="1" dirty="0" smtClean="0"/>
            <a:t>HR Strategy &amp; Planning</a:t>
          </a:r>
          <a:endParaRPr lang="en-GB" sz="300" b="1" dirty="0"/>
        </a:p>
      </dgm:t>
    </dgm:pt>
    <dgm:pt modelId="{ABED83BE-30C4-44DE-9B25-B53080DFA8D9}" type="parTrans" cxnId="{7E2A7175-C04B-4611-AB64-414834ABAA65}">
      <dgm:prSet/>
      <dgm:spPr/>
      <dgm:t>
        <a:bodyPr/>
        <a:lstStyle/>
        <a:p>
          <a:endParaRPr lang="en-GB"/>
        </a:p>
      </dgm:t>
    </dgm:pt>
    <dgm:pt modelId="{B29FB2B1-5D57-4177-B619-7644A799A143}" type="sibTrans" cxnId="{7E2A7175-C04B-4611-AB64-414834ABAA65}">
      <dgm:prSet/>
      <dgm:spPr/>
      <dgm:t>
        <a:bodyPr/>
        <a:lstStyle/>
        <a:p>
          <a:endParaRPr lang="en-GB"/>
        </a:p>
      </dgm:t>
    </dgm:pt>
    <dgm:pt modelId="{67B5556D-CC5F-4723-BC6A-9DF93668D976}">
      <dgm:prSet custT="1"/>
      <dgm:spPr>
        <a:solidFill>
          <a:srgbClr val="A50021"/>
        </a:solidFill>
      </dgm:spPr>
      <dgm:t>
        <a:bodyPr/>
        <a:lstStyle/>
        <a:p>
          <a:r>
            <a:rPr lang="en-US" sz="400" dirty="0" smtClean="0"/>
            <a:t>  </a:t>
          </a:r>
          <a:r>
            <a:rPr lang="en-US" sz="300" b="1" dirty="0" smtClean="0"/>
            <a:t>Organisation Design</a:t>
          </a:r>
          <a:endParaRPr lang="en-GB" sz="300" b="1" dirty="0"/>
        </a:p>
      </dgm:t>
    </dgm:pt>
    <dgm:pt modelId="{5C9A925C-FBD3-420F-9228-24280B35E753}" type="parTrans" cxnId="{2E786A44-CFE2-48C4-A765-5821C0BC864E}">
      <dgm:prSet/>
      <dgm:spPr/>
      <dgm:t>
        <a:bodyPr/>
        <a:lstStyle/>
        <a:p>
          <a:endParaRPr lang="en-GB"/>
        </a:p>
      </dgm:t>
    </dgm:pt>
    <dgm:pt modelId="{267B6CD7-94D2-4D5B-A18D-CC538DA4BF9A}" type="sibTrans" cxnId="{2E786A44-CFE2-48C4-A765-5821C0BC864E}">
      <dgm:prSet/>
      <dgm:spPr/>
      <dgm:t>
        <a:bodyPr/>
        <a:lstStyle/>
        <a:p>
          <a:endParaRPr lang="en-GB"/>
        </a:p>
      </dgm:t>
    </dgm:pt>
    <dgm:pt modelId="{FC4BBB54-8795-471A-BE40-94B08251BA41}" type="pres">
      <dgm:prSet presAssocID="{8B50BC7A-E7E8-409A-AEC3-710871EA98D6}" presName="compositeShape" presStyleCnt="0">
        <dgm:presLayoutVars>
          <dgm:chMax val="7"/>
          <dgm:dir/>
          <dgm:resizeHandles val="exact"/>
        </dgm:presLayoutVars>
      </dgm:prSet>
      <dgm:spPr/>
    </dgm:pt>
    <dgm:pt modelId="{089EA6C9-0271-4628-B499-84073115EC84}" type="pres">
      <dgm:prSet presAssocID="{8B50BC7A-E7E8-409A-AEC3-710871EA98D6}" presName="wedge1" presStyleLbl="node1" presStyleIdx="0" presStyleCnt="4" custLinFactNeighborX="-6119" custLinFactNeighborY="5017"/>
      <dgm:spPr/>
      <dgm:t>
        <a:bodyPr/>
        <a:lstStyle/>
        <a:p>
          <a:endParaRPr lang="en-GB"/>
        </a:p>
      </dgm:t>
    </dgm:pt>
    <dgm:pt modelId="{CF00949D-1C5E-400E-84DE-FCFB6D65BFF9}" type="pres">
      <dgm:prSet presAssocID="{8B50BC7A-E7E8-409A-AEC3-710871EA98D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FF584D-98CA-4EDD-BB48-4ABBC47FD008}" type="pres">
      <dgm:prSet presAssocID="{8B50BC7A-E7E8-409A-AEC3-710871EA98D6}" presName="wedge2" presStyleLbl="node1" presStyleIdx="1" presStyleCnt="4" custLinFactNeighborX="6671" custLinFactNeighborY="7417"/>
      <dgm:spPr/>
      <dgm:t>
        <a:bodyPr/>
        <a:lstStyle/>
        <a:p>
          <a:endParaRPr lang="en-GB"/>
        </a:p>
      </dgm:t>
    </dgm:pt>
    <dgm:pt modelId="{4AA052B4-9457-4069-ACA2-35F18B9656C4}" type="pres">
      <dgm:prSet presAssocID="{8B50BC7A-E7E8-409A-AEC3-710871EA98D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A1FB82E-4DB0-425E-B3D1-6D1482FAD8AF}" type="pres">
      <dgm:prSet presAssocID="{8B50BC7A-E7E8-409A-AEC3-710871EA98D6}" presName="wedge3" presStyleLbl="node1" presStyleIdx="2" presStyleCnt="4" custLinFactNeighborX="-1905"/>
      <dgm:spPr/>
      <dgm:t>
        <a:bodyPr/>
        <a:lstStyle/>
        <a:p>
          <a:endParaRPr lang="en-GB"/>
        </a:p>
      </dgm:t>
    </dgm:pt>
    <dgm:pt modelId="{6292AABF-E936-4D28-8BC0-4DABB6EB4649}" type="pres">
      <dgm:prSet presAssocID="{8B50BC7A-E7E8-409A-AEC3-710871EA98D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43E59EC-F2BC-4C2D-9AF5-2052E177B89F}" type="pres">
      <dgm:prSet presAssocID="{8B50BC7A-E7E8-409A-AEC3-710871EA98D6}" presName="wedge4" presStyleLbl="node1" presStyleIdx="3" presStyleCnt="4" custLinFactNeighborX="-2456" custLinFactNeighborY="1976"/>
      <dgm:spPr/>
      <dgm:t>
        <a:bodyPr/>
        <a:lstStyle/>
        <a:p>
          <a:endParaRPr lang="en-GB"/>
        </a:p>
      </dgm:t>
    </dgm:pt>
    <dgm:pt modelId="{AD95B034-23C5-4D65-AB66-3A8C3BAA5C7B}" type="pres">
      <dgm:prSet presAssocID="{8B50BC7A-E7E8-409A-AEC3-710871EA98D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089B8E95-1527-487E-A456-98D3673B4499}" type="presOf" srcId="{8B50BC7A-E7E8-409A-AEC3-710871EA98D6}" destId="{FC4BBB54-8795-471A-BE40-94B08251BA41}" srcOrd="0" destOrd="0" presId="urn:microsoft.com/office/officeart/2005/8/layout/chart3"/>
    <dgm:cxn modelId="{166BE67E-B433-44A6-B627-92114D03163A}" type="presOf" srcId="{72DBCA6A-7848-467B-BDC0-A5B28359FC34}" destId="{6292AABF-E936-4D28-8BC0-4DABB6EB4649}" srcOrd="1" destOrd="0" presId="urn:microsoft.com/office/officeart/2005/8/layout/chart3"/>
    <dgm:cxn modelId="{DBE37D5B-47A9-4AFF-B9B7-2D7B91711468}" type="presOf" srcId="{67B5556D-CC5F-4723-BC6A-9DF93668D976}" destId="{A2FF584D-98CA-4EDD-BB48-4ABBC47FD008}" srcOrd="0" destOrd="0" presId="urn:microsoft.com/office/officeart/2005/8/layout/chart3"/>
    <dgm:cxn modelId="{7E2A7175-C04B-4611-AB64-414834ABAA65}" srcId="{8B50BC7A-E7E8-409A-AEC3-710871EA98D6}" destId="{06D6D8E8-D62B-4BA2-89A0-84A58597C5A0}" srcOrd="3" destOrd="0" parTransId="{ABED83BE-30C4-44DE-9B25-B53080DFA8D9}" sibTransId="{B29FB2B1-5D57-4177-B619-7644A799A143}"/>
    <dgm:cxn modelId="{E7BA3A59-C054-4796-8E3B-2FE70A88FD20}" srcId="{8B50BC7A-E7E8-409A-AEC3-710871EA98D6}" destId="{72DBCA6A-7848-467B-BDC0-A5B28359FC34}" srcOrd="2" destOrd="0" parTransId="{350C2CE2-1200-45CA-962B-0F6FF13B2079}" sibTransId="{02D6F883-83D8-4AE0-8E9B-F81D1974BF40}"/>
    <dgm:cxn modelId="{07969307-6F08-48B1-A6F5-B0A872C82E88}" type="presOf" srcId="{7D1528A3-38E2-4E78-9350-58D0D37CA8C9}" destId="{CF00949D-1C5E-400E-84DE-FCFB6D65BFF9}" srcOrd="1" destOrd="0" presId="urn:microsoft.com/office/officeart/2005/8/layout/chart3"/>
    <dgm:cxn modelId="{C8E7906A-ECB3-4C7C-8EB3-FA3B4472CE6B}" type="presOf" srcId="{06D6D8E8-D62B-4BA2-89A0-84A58597C5A0}" destId="{943E59EC-F2BC-4C2D-9AF5-2052E177B89F}" srcOrd="0" destOrd="0" presId="urn:microsoft.com/office/officeart/2005/8/layout/chart3"/>
    <dgm:cxn modelId="{B61BB3E8-AB2A-432A-A252-B17E997836C0}" type="presOf" srcId="{06D6D8E8-D62B-4BA2-89A0-84A58597C5A0}" destId="{AD95B034-23C5-4D65-AB66-3A8C3BAA5C7B}" srcOrd="1" destOrd="0" presId="urn:microsoft.com/office/officeart/2005/8/layout/chart3"/>
    <dgm:cxn modelId="{D98F6541-6A38-4BC9-8CC9-690F654D2361}" type="presOf" srcId="{67B5556D-CC5F-4723-BC6A-9DF93668D976}" destId="{4AA052B4-9457-4069-ACA2-35F18B9656C4}" srcOrd="1" destOrd="0" presId="urn:microsoft.com/office/officeart/2005/8/layout/chart3"/>
    <dgm:cxn modelId="{2E786A44-CFE2-48C4-A765-5821C0BC864E}" srcId="{8B50BC7A-E7E8-409A-AEC3-710871EA98D6}" destId="{67B5556D-CC5F-4723-BC6A-9DF93668D976}" srcOrd="1" destOrd="0" parTransId="{5C9A925C-FBD3-420F-9228-24280B35E753}" sibTransId="{267B6CD7-94D2-4D5B-A18D-CC538DA4BF9A}"/>
    <dgm:cxn modelId="{4BA691F9-F4CC-41DB-9067-8F16D6738898}" type="presOf" srcId="{7D1528A3-38E2-4E78-9350-58D0D37CA8C9}" destId="{089EA6C9-0271-4628-B499-84073115EC84}" srcOrd="0" destOrd="0" presId="urn:microsoft.com/office/officeart/2005/8/layout/chart3"/>
    <dgm:cxn modelId="{35B59928-5FEE-4D70-B3BF-0BFD9BD1A85F}" srcId="{8B50BC7A-E7E8-409A-AEC3-710871EA98D6}" destId="{7D1528A3-38E2-4E78-9350-58D0D37CA8C9}" srcOrd="0" destOrd="0" parTransId="{61A0C7B5-32AB-442C-969A-50B5E52315B3}" sibTransId="{7729E7E0-A8EE-4D65-A3BD-FE69F0D7C316}"/>
    <dgm:cxn modelId="{411F271D-78FB-474F-96AA-295BB83ED64D}" type="presOf" srcId="{72DBCA6A-7848-467B-BDC0-A5B28359FC34}" destId="{0A1FB82E-4DB0-425E-B3D1-6D1482FAD8AF}" srcOrd="0" destOrd="0" presId="urn:microsoft.com/office/officeart/2005/8/layout/chart3"/>
    <dgm:cxn modelId="{D38A3B89-E0DD-4773-B868-2C1694E322C1}" type="presParOf" srcId="{FC4BBB54-8795-471A-BE40-94B08251BA41}" destId="{089EA6C9-0271-4628-B499-84073115EC84}" srcOrd="0" destOrd="0" presId="urn:microsoft.com/office/officeart/2005/8/layout/chart3"/>
    <dgm:cxn modelId="{8E03747D-2BD9-4074-ADD7-6CFD9DCBFB07}" type="presParOf" srcId="{FC4BBB54-8795-471A-BE40-94B08251BA41}" destId="{CF00949D-1C5E-400E-84DE-FCFB6D65BFF9}" srcOrd="1" destOrd="0" presId="urn:microsoft.com/office/officeart/2005/8/layout/chart3"/>
    <dgm:cxn modelId="{87EA3658-30FB-46DC-8939-1DC7C1F2A106}" type="presParOf" srcId="{FC4BBB54-8795-471A-BE40-94B08251BA41}" destId="{A2FF584D-98CA-4EDD-BB48-4ABBC47FD008}" srcOrd="2" destOrd="0" presId="urn:microsoft.com/office/officeart/2005/8/layout/chart3"/>
    <dgm:cxn modelId="{E403A190-E6F7-4199-91F7-A0B6F568104A}" type="presParOf" srcId="{FC4BBB54-8795-471A-BE40-94B08251BA41}" destId="{4AA052B4-9457-4069-ACA2-35F18B9656C4}" srcOrd="3" destOrd="0" presId="urn:microsoft.com/office/officeart/2005/8/layout/chart3"/>
    <dgm:cxn modelId="{C5BE36FA-DA22-41F1-9B9C-CD625100A707}" type="presParOf" srcId="{FC4BBB54-8795-471A-BE40-94B08251BA41}" destId="{0A1FB82E-4DB0-425E-B3D1-6D1482FAD8AF}" srcOrd="4" destOrd="0" presId="urn:microsoft.com/office/officeart/2005/8/layout/chart3"/>
    <dgm:cxn modelId="{79EA0A90-94CB-4A6F-B9FF-0C2A62EDF9C8}" type="presParOf" srcId="{FC4BBB54-8795-471A-BE40-94B08251BA41}" destId="{6292AABF-E936-4D28-8BC0-4DABB6EB4649}" srcOrd="5" destOrd="0" presId="urn:microsoft.com/office/officeart/2005/8/layout/chart3"/>
    <dgm:cxn modelId="{62B02835-EC10-43A3-9406-58883453758A}" type="presParOf" srcId="{FC4BBB54-8795-471A-BE40-94B08251BA41}" destId="{943E59EC-F2BC-4C2D-9AF5-2052E177B89F}" srcOrd="6" destOrd="0" presId="urn:microsoft.com/office/officeart/2005/8/layout/chart3"/>
    <dgm:cxn modelId="{E660C1A2-A34F-41E9-9EF4-09414D0E3DA0}" type="presParOf" srcId="{FC4BBB54-8795-471A-BE40-94B08251BA41}" destId="{AD95B034-23C5-4D65-AB66-3A8C3BAA5C7B}" srcOrd="7" destOrd="0" presId="urn:microsoft.com/office/officeart/2005/8/layout/chart3"/>
  </dgm:cxnLst>
  <dgm:bg>
    <a:noFill/>
  </dgm:bg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B50BC7A-E7E8-409A-AEC3-710871EA98D6}" type="doc">
      <dgm:prSet loTypeId="urn:microsoft.com/office/officeart/2005/8/layout/chart3" loCatId="cycle" qsTypeId="urn:microsoft.com/office/officeart/2005/8/quickstyle/3d2" qsCatId="3D" csTypeId="urn:microsoft.com/office/officeart/2005/8/colors/accent1_2" csCatId="accent1" phldr="1"/>
      <dgm:spPr/>
    </dgm:pt>
    <dgm:pt modelId="{7D1528A3-38E2-4E78-9350-58D0D37CA8C9}">
      <dgm:prSet phldrT="[Text]"/>
      <dgm:spPr>
        <a:solidFill>
          <a:srgbClr val="A50021"/>
        </a:solidFill>
      </dgm:spPr>
      <dgm:t>
        <a:bodyPr/>
        <a:lstStyle/>
        <a:p>
          <a:r>
            <a:rPr lang="en-US" b="1" dirty="0" smtClean="0"/>
            <a:t>Performance Management</a:t>
          </a:r>
          <a:endParaRPr lang="en-GB" b="1" dirty="0"/>
        </a:p>
      </dgm:t>
    </dgm:pt>
    <dgm:pt modelId="{61A0C7B5-32AB-442C-969A-50B5E52315B3}" type="parTrans" cxnId="{35B59928-5FEE-4D70-B3BF-0BFD9BD1A85F}">
      <dgm:prSet/>
      <dgm:spPr/>
      <dgm:t>
        <a:bodyPr/>
        <a:lstStyle/>
        <a:p>
          <a:endParaRPr lang="en-GB"/>
        </a:p>
      </dgm:t>
    </dgm:pt>
    <dgm:pt modelId="{7729E7E0-A8EE-4D65-A3BD-FE69F0D7C316}" type="sibTrans" cxnId="{35B59928-5FEE-4D70-B3BF-0BFD9BD1A85F}">
      <dgm:prSet/>
      <dgm:spPr/>
      <dgm:t>
        <a:bodyPr/>
        <a:lstStyle/>
        <a:p>
          <a:endParaRPr lang="en-GB"/>
        </a:p>
      </dgm:t>
    </dgm:pt>
    <dgm:pt modelId="{72DBCA6A-7848-467B-BDC0-A5B28359FC34}">
      <dgm:prSet phldrT="[Text]"/>
      <dgm:spPr>
        <a:solidFill>
          <a:srgbClr val="A50021"/>
        </a:solidFill>
      </dgm:spPr>
      <dgm:t>
        <a:bodyPr/>
        <a:lstStyle/>
        <a:p>
          <a:r>
            <a:rPr lang="en-US" b="1" dirty="0" smtClean="0"/>
            <a:t>Reward Management</a:t>
          </a:r>
          <a:endParaRPr lang="en-GB" b="1" dirty="0"/>
        </a:p>
      </dgm:t>
    </dgm:pt>
    <dgm:pt modelId="{350C2CE2-1200-45CA-962B-0F6FF13B2079}" type="parTrans" cxnId="{E7BA3A59-C054-4796-8E3B-2FE70A88FD20}">
      <dgm:prSet/>
      <dgm:spPr/>
      <dgm:t>
        <a:bodyPr/>
        <a:lstStyle/>
        <a:p>
          <a:endParaRPr lang="en-GB"/>
        </a:p>
      </dgm:t>
    </dgm:pt>
    <dgm:pt modelId="{02D6F883-83D8-4AE0-8E9B-F81D1974BF40}" type="sibTrans" cxnId="{E7BA3A59-C054-4796-8E3B-2FE70A88FD20}">
      <dgm:prSet/>
      <dgm:spPr/>
      <dgm:t>
        <a:bodyPr/>
        <a:lstStyle/>
        <a:p>
          <a:endParaRPr lang="en-GB"/>
        </a:p>
      </dgm:t>
    </dgm:pt>
    <dgm:pt modelId="{06D6D8E8-D62B-4BA2-89A0-84A58597C5A0}">
      <dgm:prSet phldrT="[Text]"/>
      <dgm:spPr>
        <a:solidFill>
          <a:srgbClr val="A50021"/>
        </a:solidFill>
      </dgm:spPr>
      <dgm:t>
        <a:bodyPr/>
        <a:lstStyle/>
        <a:p>
          <a:r>
            <a:rPr lang="en-US" b="1" dirty="0" smtClean="0"/>
            <a:t>HR Strategy &amp; Planning</a:t>
          </a:r>
          <a:endParaRPr lang="en-GB" b="1" dirty="0"/>
        </a:p>
      </dgm:t>
    </dgm:pt>
    <dgm:pt modelId="{ABED83BE-30C4-44DE-9B25-B53080DFA8D9}" type="parTrans" cxnId="{7E2A7175-C04B-4611-AB64-414834ABAA65}">
      <dgm:prSet/>
      <dgm:spPr/>
      <dgm:t>
        <a:bodyPr/>
        <a:lstStyle/>
        <a:p>
          <a:endParaRPr lang="en-GB"/>
        </a:p>
      </dgm:t>
    </dgm:pt>
    <dgm:pt modelId="{B29FB2B1-5D57-4177-B619-7644A799A143}" type="sibTrans" cxnId="{7E2A7175-C04B-4611-AB64-414834ABAA65}">
      <dgm:prSet/>
      <dgm:spPr/>
      <dgm:t>
        <a:bodyPr/>
        <a:lstStyle/>
        <a:p>
          <a:endParaRPr lang="en-GB"/>
        </a:p>
      </dgm:t>
    </dgm:pt>
    <dgm:pt modelId="{67B5556D-CC5F-4723-BC6A-9DF93668D976}">
      <dgm:prSet/>
      <dgm:spPr>
        <a:solidFill>
          <a:srgbClr val="A50021"/>
        </a:solidFill>
      </dgm:spPr>
      <dgm:t>
        <a:bodyPr/>
        <a:lstStyle/>
        <a:p>
          <a:r>
            <a:rPr lang="en-US" dirty="0" smtClean="0"/>
            <a:t>  </a:t>
          </a:r>
          <a:r>
            <a:rPr lang="en-US" b="1" dirty="0" smtClean="0"/>
            <a:t>Organisation Design</a:t>
          </a:r>
          <a:endParaRPr lang="en-GB" b="1" dirty="0"/>
        </a:p>
      </dgm:t>
    </dgm:pt>
    <dgm:pt modelId="{5C9A925C-FBD3-420F-9228-24280B35E753}" type="parTrans" cxnId="{2E786A44-CFE2-48C4-A765-5821C0BC864E}">
      <dgm:prSet/>
      <dgm:spPr/>
      <dgm:t>
        <a:bodyPr/>
        <a:lstStyle/>
        <a:p>
          <a:endParaRPr lang="en-GB"/>
        </a:p>
      </dgm:t>
    </dgm:pt>
    <dgm:pt modelId="{267B6CD7-94D2-4D5B-A18D-CC538DA4BF9A}" type="sibTrans" cxnId="{2E786A44-CFE2-48C4-A765-5821C0BC864E}">
      <dgm:prSet/>
      <dgm:spPr/>
      <dgm:t>
        <a:bodyPr/>
        <a:lstStyle/>
        <a:p>
          <a:endParaRPr lang="en-GB"/>
        </a:p>
      </dgm:t>
    </dgm:pt>
    <dgm:pt modelId="{FC4BBB54-8795-471A-BE40-94B08251BA41}" type="pres">
      <dgm:prSet presAssocID="{8B50BC7A-E7E8-409A-AEC3-710871EA98D6}" presName="compositeShape" presStyleCnt="0">
        <dgm:presLayoutVars>
          <dgm:chMax val="7"/>
          <dgm:dir/>
          <dgm:resizeHandles val="exact"/>
        </dgm:presLayoutVars>
      </dgm:prSet>
      <dgm:spPr/>
    </dgm:pt>
    <dgm:pt modelId="{089EA6C9-0271-4628-B499-84073115EC84}" type="pres">
      <dgm:prSet presAssocID="{8B50BC7A-E7E8-409A-AEC3-710871EA98D6}" presName="wedge1" presStyleLbl="node1" presStyleIdx="0" presStyleCnt="4" custLinFactNeighborX="-3866" custLinFactNeighborY="-932"/>
      <dgm:spPr/>
      <dgm:t>
        <a:bodyPr/>
        <a:lstStyle/>
        <a:p>
          <a:endParaRPr lang="en-GB"/>
        </a:p>
      </dgm:t>
    </dgm:pt>
    <dgm:pt modelId="{CF00949D-1C5E-400E-84DE-FCFB6D65BFF9}" type="pres">
      <dgm:prSet presAssocID="{8B50BC7A-E7E8-409A-AEC3-710871EA98D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FF584D-98CA-4EDD-BB48-4ABBC47FD008}" type="pres">
      <dgm:prSet presAssocID="{8B50BC7A-E7E8-409A-AEC3-710871EA98D6}" presName="wedge2" presStyleLbl="node1" presStyleIdx="1" presStyleCnt="4" custLinFactNeighborX="-1905"/>
      <dgm:spPr/>
      <dgm:t>
        <a:bodyPr/>
        <a:lstStyle/>
        <a:p>
          <a:endParaRPr lang="en-GB"/>
        </a:p>
      </dgm:t>
    </dgm:pt>
    <dgm:pt modelId="{4AA052B4-9457-4069-ACA2-35F18B9656C4}" type="pres">
      <dgm:prSet presAssocID="{8B50BC7A-E7E8-409A-AEC3-710871EA98D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A1FB82E-4DB0-425E-B3D1-6D1482FAD8AF}" type="pres">
      <dgm:prSet presAssocID="{8B50BC7A-E7E8-409A-AEC3-710871EA98D6}" presName="wedge3" presStyleLbl="node1" presStyleIdx="2" presStyleCnt="4" custLinFactNeighborX="-1905"/>
      <dgm:spPr/>
      <dgm:t>
        <a:bodyPr/>
        <a:lstStyle/>
        <a:p>
          <a:endParaRPr lang="en-GB"/>
        </a:p>
      </dgm:t>
    </dgm:pt>
    <dgm:pt modelId="{6292AABF-E936-4D28-8BC0-4DABB6EB4649}" type="pres">
      <dgm:prSet presAssocID="{8B50BC7A-E7E8-409A-AEC3-710871EA98D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43E59EC-F2BC-4C2D-9AF5-2052E177B89F}" type="pres">
      <dgm:prSet presAssocID="{8B50BC7A-E7E8-409A-AEC3-710871EA98D6}" presName="wedge4" presStyleLbl="node1" presStyleIdx="3" presStyleCnt="4" custLinFactNeighborX="-1905" custLinFactNeighborY="803"/>
      <dgm:spPr/>
      <dgm:t>
        <a:bodyPr/>
        <a:lstStyle/>
        <a:p>
          <a:endParaRPr lang="en-GB"/>
        </a:p>
      </dgm:t>
    </dgm:pt>
    <dgm:pt modelId="{AD95B034-23C5-4D65-AB66-3A8C3BAA5C7B}" type="pres">
      <dgm:prSet presAssocID="{8B50BC7A-E7E8-409A-AEC3-710871EA98D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7E2A7175-C04B-4611-AB64-414834ABAA65}" srcId="{8B50BC7A-E7E8-409A-AEC3-710871EA98D6}" destId="{06D6D8E8-D62B-4BA2-89A0-84A58597C5A0}" srcOrd="3" destOrd="0" parTransId="{ABED83BE-30C4-44DE-9B25-B53080DFA8D9}" sibTransId="{B29FB2B1-5D57-4177-B619-7644A799A143}"/>
    <dgm:cxn modelId="{78A1D74B-772B-45A4-9FD9-155565621642}" type="presOf" srcId="{7D1528A3-38E2-4E78-9350-58D0D37CA8C9}" destId="{089EA6C9-0271-4628-B499-84073115EC84}" srcOrd="0" destOrd="0" presId="urn:microsoft.com/office/officeart/2005/8/layout/chart3"/>
    <dgm:cxn modelId="{F8B9CC75-AD0D-40BA-870E-29138DE641F6}" type="presOf" srcId="{67B5556D-CC5F-4723-BC6A-9DF93668D976}" destId="{4AA052B4-9457-4069-ACA2-35F18B9656C4}" srcOrd="1" destOrd="0" presId="urn:microsoft.com/office/officeart/2005/8/layout/chart3"/>
    <dgm:cxn modelId="{BE70BDC9-C73C-4A62-967B-3FF08B114110}" type="presOf" srcId="{8B50BC7A-E7E8-409A-AEC3-710871EA98D6}" destId="{FC4BBB54-8795-471A-BE40-94B08251BA41}" srcOrd="0" destOrd="0" presId="urn:microsoft.com/office/officeart/2005/8/layout/chart3"/>
    <dgm:cxn modelId="{E97EF524-6B6F-4CC7-9685-7075F344515A}" type="presOf" srcId="{67B5556D-CC5F-4723-BC6A-9DF93668D976}" destId="{A2FF584D-98CA-4EDD-BB48-4ABBC47FD008}" srcOrd="0" destOrd="0" presId="urn:microsoft.com/office/officeart/2005/8/layout/chart3"/>
    <dgm:cxn modelId="{E7BA3A59-C054-4796-8E3B-2FE70A88FD20}" srcId="{8B50BC7A-E7E8-409A-AEC3-710871EA98D6}" destId="{72DBCA6A-7848-467B-BDC0-A5B28359FC34}" srcOrd="2" destOrd="0" parTransId="{350C2CE2-1200-45CA-962B-0F6FF13B2079}" sibTransId="{02D6F883-83D8-4AE0-8E9B-F81D1974BF40}"/>
    <dgm:cxn modelId="{EC3A0477-9737-4A41-A749-6AE254CC5C83}" type="presOf" srcId="{7D1528A3-38E2-4E78-9350-58D0D37CA8C9}" destId="{CF00949D-1C5E-400E-84DE-FCFB6D65BFF9}" srcOrd="1" destOrd="0" presId="urn:microsoft.com/office/officeart/2005/8/layout/chart3"/>
    <dgm:cxn modelId="{2D56C4DA-EE4A-4514-8846-ED3F94A96B7B}" type="presOf" srcId="{06D6D8E8-D62B-4BA2-89A0-84A58597C5A0}" destId="{943E59EC-F2BC-4C2D-9AF5-2052E177B89F}" srcOrd="0" destOrd="0" presId="urn:microsoft.com/office/officeart/2005/8/layout/chart3"/>
    <dgm:cxn modelId="{86E427FB-741A-4D03-AC65-FA4770A602CF}" type="presOf" srcId="{06D6D8E8-D62B-4BA2-89A0-84A58597C5A0}" destId="{AD95B034-23C5-4D65-AB66-3A8C3BAA5C7B}" srcOrd="1" destOrd="0" presId="urn:microsoft.com/office/officeart/2005/8/layout/chart3"/>
    <dgm:cxn modelId="{2E786A44-CFE2-48C4-A765-5821C0BC864E}" srcId="{8B50BC7A-E7E8-409A-AEC3-710871EA98D6}" destId="{67B5556D-CC5F-4723-BC6A-9DF93668D976}" srcOrd="1" destOrd="0" parTransId="{5C9A925C-FBD3-420F-9228-24280B35E753}" sibTransId="{267B6CD7-94D2-4D5B-A18D-CC538DA4BF9A}"/>
    <dgm:cxn modelId="{35B59928-5FEE-4D70-B3BF-0BFD9BD1A85F}" srcId="{8B50BC7A-E7E8-409A-AEC3-710871EA98D6}" destId="{7D1528A3-38E2-4E78-9350-58D0D37CA8C9}" srcOrd="0" destOrd="0" parTransId="{61A0C7B5-32AB-442C-969A-50B5E52315B3}" sibTransId="{7729E7E0-A8EE-4D65-A3BD-FE69F0D7C316}"/>
    <dgm:cxn modelId="{AD67204D-0E22-4620-8C76-A2089F120FFA}" type="presOf" srcId="{72DBCA6A-7848-467B-BDC0-A5B28359FC34}" destId="{0A1FB82E-4DB0-425E-B3D1-6D1482FAD8AF}" srcOrd="0" destOrd="0" presId="urn:microsoft.com/office/officeart/2005/8/layout/chart3"/>
    <dgm:cxn modelId="{02E933C9-6D5E-466B-B328-07B2029EB478}" type="presOf" srcId="{72DBCA6A-7848-467B-BDC0-A5B28359FC34}" destId="{6292AABF-E936-4D28-8BC0-4DABB6EB4649}" srcOrd="1" destOrd="0" presId="urn:microsoft.com/office/officeart/2005/8/layout/chart3"/>
    <dgm:cxn modelId="{81A2E0EB-E77C-4C27-A14E-5FE9F7B0A2A2}" type="presParOf" srcId="{FC4BBB54-8795-471A-BE40-94B08251BA41}" destId="{089EA6C9-0271-4628-B499-84073115EC84}" srcOrd="0" destOrd="0" presId="urn:microsoft.com/office/officeart/2005/8/layout/chart3"/>
    <dgm:cxn modelId="{8EAA11E3-2F1D-4F8E-B442-921BA4038842}" type="presParOf" srcId="{FC4BBB54-8795-471A-BE40-94B08251BA41}" destId="{CF00949D-1C5E-400E-84DE-FCFB6D65BFF9}" srcOrd="1" destOrd="0" presId="urn:microsoft.com/office/officeart/2005/8/layout/chart3"/>
    <dgm:cxn modelId="{EDB0E33A-7A80-44C2-83E7-C8569CA4C291}" type="presParOf" srcId="{FC4BBB54-8795-471A-BE40-94B08251BA41}" destId="{A2FF584D-98CA-4EDD-BB48-4ABBC47FD008}" srcOrd="2" destOrd="0" presId="urn:microsoft.com/office/officeart/2005/8/layout/chart3"/>
    <dgm:cxn modelId="{939A5E26-4059-46BB-8194-82EB02205198}" type="presParOf" srcId="{FC4BBB54-8795-471A-BE40-94B08251BA41}" destId="{4AA052B4-9457-4069-ACA2-35F18B9656C4}" srcOrd="3" destOrd="0" presId="urn:microsoft.com/office/officeart/2005/8/layout/chart3"/>
    <dgm:cxn modelId="{784D07BA-E7D8-4015-BCBD-D9B3B5AAA28D}" type="presParOf" srcId="{FC4BBB54-8795-471A-BE40-94B08251BA41}" destId="{0A1FB82E-4DB0-425E-B3D1-6D1482FAD8AF}" srcOrd="4" destOrd="0" presId="urn:microsoft.com/office/officeart/2005/8/layout/chart3"/>
    <dgm:cxn modelId="{18403F15-1D71-468B-8298-A7757773EC98}" type="presParOf" srcId="{FC4BBB54-8795-471A-BE40-94B08251BA41}" destId="{6292AABF-E936-4D28-8BC0-4DABB6EB4649}" srcOrd="5" destOrd="0" presId="urn:microsoft.com/office/officeart/2005/8/layout/chart3"/>
    <dgm:cxn modelId="{78B46D31-ED28-4303-92C0-51E832435667}" type="presParOf" srcId="{FC4BBB54-8795-471A-BE40-94B08251BA41}" destId="{943E59EC-F2BC-4C2D-9AF5-2052E177B89F}" srcOrd="6" destOrd="0" presId="urn:microsoft.com/office/officeart/2005/8/layout/chart3"/>
    <dgm:cxn modelId="{544586EF-16FB-415E-A095-2AFB6CF30113}" type="presParOf" srcId="{FC4BBB54-8795-471A-BE40-94B08251BA41}" destId="{AD95B034-23C5-4D65-AB66-3A8C3BAA5C7B}" srcOrd="7" destOrd="0" presId="urn:microsoft.com/office/officeart/2005/8/layout/chart3"/>
  </dgm:cxnLst>
  <dgm:bg>
    <a:noFill/>
  </dgm:bg>
  <dgm:whole/>
  <dgm:extLst>
    <a:ext uri="http://schemas.microsoft.com/office/drawing/2008/diagram">
      <dsp:dataModelExt xmlns:dsp="http://schemas.microsoft.com/office/drawing/2008/diagram" xmlns="" relId="rId2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B50BC7A-E7E8-409A-AEC3-710871EA98D6}" type="doc">
      <dgm:prSet loTypeId="urn:microsoft.com/office/officeart/2005/8/layout/chart3" loCatId="cycle" qsTypeId="urn:microsoft.com/office/officeart/2005/8/quickstyle/3d2" qsCatId="3D" csTypeId="urn:microsoft.com/office/officeart/2005/8/colors/accent1_2" csCatId="accent1" phldr="1"/>
      <dgm:spPr/>
    </dgm:pt>
    <dgm:pt modelId="{7D1528A3-38E2-4E78-9350-58D0D37CA8C9}">
      <dgm:prSet phldrT="[Text]"/>
      <dgm:spPr>
        <a:solidFill>
          <a:srgbClr val="A50021"/>
        </a:solidFill>
      </dgm:spPr>
      <dgm:t>
        <a:bodyPr/>
        <a:lstStyle/>
        <a:p>
          <a:r>
            <a:rPr lang="en-US" b="1" dirty="0" smtClean="0"/>
            <a:t>Performance Management</a:t>
          </a:r>
          <a:endParaRPr lang="en-GB" b="1" dirty="0"/>
        </a:p>
      </dgm:t>
    </dgm:pt>
    <dgm:pt modelId="{61A0C7B5-32AB-442C-969A-50B5E52315B3}" type="parTrans" cxnId="{35B59928-5FEE-4D70-B3BF-0BFD9BD1A85F}">
      <dgm:prSet/>
      <dgm:spPr/>
      <dgm:t>
        <a:bodyPr/>
        <a:lstStyle/>
        <a:p>
          <a:endParaRPr lang="en-GB"/>
        </a:p>
      </dgm:t>
    </dgm:pt>
    <dgm:pt modelId="{7729E7E0-A8EE-4D65-A3BD-FE69F0D7C316}" type="sibTrans" cxnId="{35B59928-5FEE-4D70-B3BF-0BFD9BD1A85F}">
      <dgm:prSet/>
      <dgm:spPr/>
      <dgm:t>
        <a:bodyPr/>
        <a:lstStyle/>
        <a:p>
          <a:endParaRPr lang="en-GB"/>
        </a:p>
      </dgm:t>
    </dgm:pt>
    <dgm:pt modelId="{72DBCA6A-7848-467B-BDC0-A5B28359FC34}">
      <dgm:prSet phldrT="[Text]"/>
      <dgm:spPr>
        <a:solidFill>
          <a:srgbClr val="A50021"/>
        </a:solidFill>
      </dgm:spPr>
      <dgm:t>
        <a:bodyPr/>
        <a:lstStyle/>
        <a:p>
          <a:r>
            <a:rPr lang="en-US" b="1" dirty="0" smtClean="0"/>
            <a:t>Reward Management</a:t>
          </a:r>
          <a:endParaRPr lang="en-GB" b="1" dirty="0"/>
        </a:p>
      </dgm:t>
    </dgm:pt>
    <dgm:pt modelId="{350C2CE2-1200-45CA-962B-0F6FF13B2079}" type="parTrans" cxnId="{E7BA3A59-C054-4796-8E3B-2FE70A88FD20}">
      <dgm:prSet/>
      <dgm:spPr/>
      <dgm:t>
        <a:bodyPr/>
        <a:lstStyle/>
        <a:p>
          <a:endParaRPr lang="en-GB"/>
        </a:p>
      </dgm:t>
    </dgm:pt>
    <dgm:pt modelId="{02D6F883-83D8-4AE0-8E9B-F81D1974BF40}" type="sibTrans" cxnId="{E7BA3A59-C054-4796-8E3B-2FE70A88FD20}">
      <dgm:prSet/>
      <dgm:spPr/>
      <dgm:t>
        <a:bodyPr/>
        <a:lstStyle/>
        <a:p>
          <a:endParaRPr lang="en-GB"/>
        </a:p>
      </dgm:t>
    </dgm:pt>
    <dgm:pt modelId="{06D6D8E8-D62B-4BA2-89A0-84A58597C5A0}">
      <dgm:prSet phldrT="[Text]"/>
      <dgm:spPr>
        <a:solidFill>
          <a:srgbClr val="A50021"/>
        </a:solidFill>
      </dgm:spPr>
      <dgm:t>
        <a:bodyPr/>
        <a:lstStyle/>
        <a:p>
          <a:r>
            <a:rPr lang="en-US" b="1" dirty="0" smtClean="0"/>
            <a:t>HR Strategy &amp; Planning</a:t>
          </a:r>
          <a:endParaRPr lang="en-GB" b="1" dirty="0"/>
        </a:p>
      </dgm:t>
    </dgm:pt>
    <dgm:pt modelId="{ABED83BE-30C4-44DE-9B25-B53080DFA8D9}" type="parTrans" cxnId="{7E2A7175-C04B-4611-AB64-414834ABAA65}">
      <dgm:prSet/>
      <dgm:spPr/>
      <dgm:t>
        <a:bodyPr/>
        <a:lstStyle/>
        <a:p>
          <a:endParaRPr lang="en-GB"/>
        </a:p>
      </dgm:t>
    </dgm:pt>
    <dgm:pt modelId="{B29FB2B1-5D57-4177-B619-7644A799A143}" type="sibTrans" cxnId="{7E2A7175-C04B-4611-AB64-414834ABAA65}">
      <dgm:prSet/>
      <dgm:spPr/>
      <dgm:t>
        <a:bodyPr/>
        <a:lstStyle/>
        <a:p>
          <a:endParaRPr lang="en-GB"/>
        </a:p>
      </dgm:t>
    </dgm:pt>
    <dgm:pt modelId="{67B5556D-CC5F-4723-BC6A-9DF93668D976}">
      <dgm:prSet/>
      <dgm:spPr>
        <a:solidFill>
          <a:srgbClr val="A50021"/>
        </a:solidFill>
      </dgm:spPr>
      <dgm:t>
        <a:bodyPr/>
        <a:lstStyle/>
        <a:p>
          <a:r>
            <a:rPr lang="en-US" dirty="0" smtClean="0"/>
            <a:t>  </a:t>
          </a:r>
          <a:r>
            <a:rPr lang="en-US" b="1" dirty="0" smtClean="0"/>
            <a:t>Organisation Design</a:t>
          </a:r>
          <a:endParaRPr lang="en-GB" b="1" dirty="0"/>
        </a:p>
      </dgm:t>
    </dgm:pt>
    <dgm:pt modelId="{5C9A925C-FBD3-420F-9228-24280B35E753}" type="parTrans" cxnId="{2E786A44-CFE2-48C4-A765-5821C0BC864E}">
      <dgm:prSet/>
      <dgm:spPr/>
      <dgm:t>
        <a:bodyPr/>
        <a:lstStyle/>
        <a:p>
          <a:endParaRPr lang="en-GB"/>
        </a:p>
      </dgm:t>
    </dgm:pt>
    <dgm:pt modelId="{267B6CD7-94D2-4D5B-A18D-CC538DA4BF9A}" type="sibTrans" cxnId="{2E786A44-CFE2-48C4-A765-5821C0BC864E}">
      <dgm:prSet/>
      <dgm:spPr/>
      <dgm:t>
        <a:bodyPr/>
        <a:lstStyle/>
        <a:p>
          <a:endParaRPr lang="en-GB"/>
        </a:p>
      </dgm:t>
    </dgm:pt>
    <dgm:pt modelId="{FC4BBB54-8795-471A-BE40-94B08251BA41}" type="pres">
      <dgm:prSet presAssocID="{8B50BC7A-E7E8-409A-AEC3-710871EA98D6}" presName="compositeShape" presStyleCnt="0">
        <dgm:presLayoutVars>
          <dgm:chMax val="7"/>
          <dgm:dir/>
          <dgm:resizeHandles val="exact"/>
        </dgm:presLayoutVars>
      </dgm:prSet>
      <dgm:spPr/>
    </dgm:pt>
    <dgm:pt modelId="{089EA6C9-0271-4628-B499-84073115EC84}" type="pres">
      <dgm:prSet presAssocID="{8B50BC7A-E7E8-409A-AEC3-710871EA98D6}" presName="wedge1" presStyleLbl="node1" presStyleIdx="0" presStyleCnt="4" custLinFactNeighborX="-6119" custLinFactNeighborY="5017"/>
      <dgm:spPr/>
      <dgm:t>
        <a:bodyPr/>
        <a:lstStyle/>
        <a:p>
          <a:endParaRPr lang="en-GB"/>
        </a:p>
      </dgm:t>
    </dgm:pt>
    <dgm:pt modelId="{CF00949D-1C5E-400E-84DE-FCFB6D65BFF9}" type="pres">
      <dgm:prSet presAssocID="{8B50BC7A-E7E8-409A-AEC3-710871EA98D6}" presName="wedge1Tx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A2FF584D-98CA-4EDD-BB48-4ABBC47FD008}" type="pres">
      <dgm:prSet presAssocID="{8B50BC7A-E7E8-409A-AEC3-710871EA98D6}" presName="wedge2" presStyleLbl="node1" presStyleIdx="1" presStyleCnt="4" custLinFactNeighborX="-1905"/>
      <dgm:spPr/>
      <dgm:t>
        <a:bodyPr/>
        <a:lstStyle/>
        <a:p>
          <a:endParaRPr lang="en-GB"/>
        </a:p>
      </dgm:t>
    </dgm:pt>
    <dgm:pt modelId="{4AA052B4-9457-4069-ACA2-35F18B9656C4}" type="pres">
      <dgm:prSet presAssocID="{8B50BC7A-E7E8-409A-AEC3-710871EA98D6}" presName="wedge2Tx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A1FB82E-4DB0-425E-B3D1-6D1482FAD8AF}" type="pres">
      <dgm:prSet presAssocID="{8B50BC7A-E7E8-409A-AEC3-710871EA98D6}" presName="wedge3" presStyleLbl="node1" presStyleIdx="2" presStyleCnt="4" custLinFactNeighborX="-8195" custLinFactNeighborY="7417"/>
      <dgm:spPr/>
      <dgm:t>
        <a:bodyPr/>
        <a:lstStyle/>
        <a:p>
          <a:endParaRPr lang="en-GB"/>
        </a:p>
      </dgm:t>
    </dgm:pt>
    <dgm:pt modelId="{6292AABF-E936-4D28-8BC0-4DABB6EB4649}" type="pres">
      <dgm:prSet presAssocID="{8B50BC7A-E7E8-409A-AEC3-710871EA98D6}" presName="wedge3Tx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43E59EC-F2BC-4C2D-9AF5-2052E177B89F}" type="pres">
      <dgm:prSet presAssocID="{8B50BC7A-E7E8-409A-AEC3-710871EA98D6}" presName="wedge4" presStyleLbl="node1" presStyleIdx="3" presStyleCnt="4" custLinFactNeighborX="-1905" custLinFactNeighborY="803"/>
      <dgm:spPr/>
      <dgm:t>
        <a:bodyPr/>
        <a:lstStyle/>
        <a:p>
          <a:endParaRPr lang="en-GB"/>
        </a:p>
      </dgm:t>
    </dgm:pt>
    <dgm:pt modelId="{AD95B034-23C5-4D65-AB66-3A8C3BAA5C7B}" type="pres">
      <dgm:prSet presAssocID="{8B50BC7A-E7E8-409A-AEC3-710871EA98D6}" presName="wedge4Tx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B3FB9B0C-8EDE-4016-98C5-80A6AE5FF454}" type="presOf" srcId="{06D6D8E8-D62B-4BA2-89A0-84A58597C5A0}" destId="{AD95B034-23C5-4D65-AB66-3A8C3BAA5C7B}" srcOrd="1" destOrd="0" presId="urn:microsoft.com/office/officeart/2005/8/layout/chart3"/>
    <dgm:cxn modelId="{7E2A7175-C04B-4611-AB64-414834ABAA65}" srcId="{8B50BC7A-E7E8-409A-AEC3-710871EA98D6}" destId="{06D6D8E8-D62B-4BA2-89A0-84A58597C5A0}" srcOrd="3" destOrd="0" parTransId="{ABED83BE-30C4-44DE-9B25-B53080DFA8D9}" sibTransId="{B29FB2B1-5D57-4177-B619-7644A799A143}"/>
    <dgm:cxn modelId="{EF148048-3E43-4B38-AFEE-05F4F50FE8DA}" type="presOf" srcId="{7D1528A3-38E2-4E78-9350-58D0D37CA8C9}" destId="{089EA6C9-0271-4628-B499-84073115EC84}" srcOrd="0" destOrd="0" presId="urn:microsoft.com/office/officeart/2005/8/layout/chart3"/>
    <dgm:cxn modelId="{CFD4D74A-38A9-46AA-873A-4C1602C2FEA5}" type="presOf" srcId="{06D6D8E8-D62B-4BA2-89A0-84A58597C5A0}" destId="{943E59EC-F2BC-4C2D-9AF5-2052E177B89F}" srcOrd="0" destOrd="0" presId="urn:microsoft.com/office/officeart/2005/8/layout/chart3"/>
    <dgm:cxn modelId="{E7BA3A59-C054-4796-8E3B-2FE70A88FD20}" srcId="{8B50BC7A-E7E8-409A-AEC3-710871EA98D6}" destId="{72DBCA6A-7848-467B-BDC0-A5B28359FC34}" srcOrd="2" destOrd="0" parTransId="{350C2CE2-1200-45CA-962B-0F6FF13B2079}" sibTransId="{02D6F883-83D8-4AE0-8E9B-F81D1974BF40}"/>
    <dgm:cxn modelId="{215FEB9E-7A13-44C2-9731-B5FA88D0D971}" type="presOf" srcId="{67B5556D-CC5F-4723-BC6A-9DF93668D976}" destId="{A2FF584D-98CA-4EDD-BB48-4ABBC47FD008}" srcOrd="0" destOrd="0" presId="urn:microsoft.com/office/officeart/2005/8/layout/chart3"/>
    <dgm:cxn modelId="{C232A7C1-7F47-4910-9D6A-9E27DCD450F8}" type="presOf" srcId="{72DBCA6A-7848-467B-BDC0-A5B28359FC34}" destId="{0A1FB82E-4DB0-425E-B3D1-6D1482FAD8AF}" srcOrd="0" destOrd="0" presId="urn:microsoft.com/office/officeart/2005/8/layout/chart3"/>
    <dgm:cxn modelId="{BBF3C1C9-3076-45F2-9804-32F6F0DD3386}" type="presOf" srcId="{72DBCA6A-7848-467B-BDC0-A5B28359FC34}" destId="{6292AABF-E936-4D28-8BC0-4DABB6EB4649}" srcOrd="1" destOrd="0" presId="urn:microsoft.com/office/officeart/2005/8/layout/chart3"/>
    <dgm:cxn modelId="{CF18A582-9CE4-40F7-A7CC-4D23551EEC50}" type="presOf" srcId="{7D1528A3-38E2-4E78-9350-58D0D37CA8C9}" destId="{CF00949D-1C5E-400E-84DE-FCFB6D65BFF9}" srcOrd="1" destOrd="0" presId="urn:microsoft.com/office/officeart/2005/8/layout/chart3"/>
    <dgm:cxn modelId="{2E786A44-CFE2-48C4-A765-5821C0BC864E}" srcId="{8B50BC7A-E7E8-409A-AEC3-710871EA98D6}" destId="{67B5556D-CC5F-4723-BC6A-9DF93668D976}" srcOrd="1" destOrd="0" parTransId="{5C9A925C-FBD3-420F-9228-24280B35E753}" sibTransId="{267B6CD7-94D2-4D5B-A18D-CC538DA4BF9A}"/>
    <dgm:cxn modelId="{35B59928-5FEE-4D70-B3BF-0BFD9BD1A85F}" srcId="{8B50BC7A-E7E8-409A-AEC3-710871EA98D6}" destId="{7D1528A3-38E2-4E78-9350-58D0D37CA8C9}" srcOrd="0" destOrd="0" parTransId="{61A0C7B5-32AB-442C-969A-50B5E52315B3}" sibTransId="{7729E7E0-A8EE-4D65-A3BD-FE69F0D7C316}"/>
    <dgm:cxn modelId="{D04CB4DA-E8DB-4962-9523-867894EA0CAE}" type="presOf" srcId="{8B50BC7A-E7E8-409A-AEC3-710871EA98D6}" destId="{FC4BBB54-8795-471A-BE40-94B08251BA41}" srcOrd="0" destOrd="0" presId="urn:microsoft.com/office/officeart/2005/8/layout/chart3"/>
    <dgm:cxn modelId="{45AF3A2B-0E79-4531-AC91-F98A8B76E074}" type="presOf" srcId="{67B5556D-CC5F-4723-BC6A-9DF93668D976}" destId="{4AA052B4-9457-4069-ACA2-35F18B9656C4}" srcOrd="1" destOrd="0" presId="urn:microsoft.com/office/officeart/2005/8/layout/chart3"/>
    <dgm:cxn modelId="{F69142DE-1979-4898-88B8-43ABD3D13D28}" type="presParOf" srcId="{FC4BBB54-8795-471A-BE40-94B08251BA41}" destId="{089EA6C9-0271-4628-B499-84073115EC84}" srcOrd="0" destOrd="0" presId="urn:microsoft.com/office/officeart/2005/8/layout/chart3"/>
    <dgm:cxn modelId="{E9441E43-8964-4E37-B7B3-1CD71C559D58}" type="presParOf" srcId="{FC4BBB54-8795-471A-BE40-94B08251BA41}" destId="{CF00949D-1C5E-400E-84DE-FCFB6D65BFF9}" srcOrd="1" destOrd="0" presId="urn:microsoft.com/office/officeart/2005/8/layout/chart3"/>
    <dgm:cxn modelId="{89852D5A-71B4-451D-A001-671A78B99024}" type="presParOf" srcId="{FC4BBB54-8795-471A-BE40-94B08251BA41}" destId="{A2FF584D-98CA-4EDD-BB48-4ABBC47FD008}" srcOrd="2" destOrd="0" presId="urn:microsoft.com/office/officeart/2005/8/layout/chart3"/>
    <dgm:cxn modelId="{C7E582FB-5B74-4206-A614-D5FA6606F66F}" type="presParOf" srcId="{FC4BBB54-8795-471A-BE40-94B08251BA41}" destId="{4AA052B4-9457-4069-ACA2-35F18B9656C4}" srcOrd="3" destOrd="0" presId="urn:microsoft.com/office/officeart/2005/8/layout/chart3"/>
    <dgm:cxn modelId="{3CC00488-B54E-4516-8C25-61B7CA29679C}" type="presParOf" srcId="{FC4BBB54-8795-471A-BE40-94B08251BA41}" destId="{0A1FB82E-4DB0-425E-B3D1-6D1482FAD8AF}" srcOrd="4" destOrd="0" presId="urn:microsoft.com/office/officeart/2005/8/layout/chart3"/>
    <dgm:cxn modelId="{C2B15F31-6826-4ADC-89D4-41A8189A3EE9}" type="presParOf" srcId="{FC4BBB54-8795-471A-BE40-94B08251BA41}" destId="{6292AABF-E936-4D28-8BC0-4DABB6EB4649}" srcOrd="5" destOrd="0" presId="urn:microsoft.com/office/officeart/2005/8/layout/chart3"/>
    <dgm:cxn modelId="{3FEF19E5-A7D9-412D-8364-D7C6179BD834}" type="presParOf" srcId="{FC4BBB54-8795-471A-BE40-94B08251BA41}" destId="{943E59EC-F2BC-4C2D-9AF5-2052E177B89F}" srcOrd="6" destOrd="0" presId="urn:microsoft.com/office/officeart/2005/8/layout/chart3"/>
    <dgm:cxn modelId="{77585C62-08D9-4FCA-A03B-5DB9C1869F3C}" type="presParOf" srcId="{FC4BBB54-8795-471A-BE40-94B08251BA41}" destId="{AD95B034-23C5-4D65-AB66-3A8C3BAA5C7B}" srcOrd="7" destOrd="0" presId="urn:microsoft.com/office/officeart/2005/8/layout/chart3"/>
  </dgm:cxnLst>
  <dgm:bg>
    <a:noFill/>
  </dgm:bg>
  <dgm:whole/>
  <dgm:extLst>
    <a:ext uri="http://schemas.microsoft.com/office/drawing/2008/diagram">
      <dsp:dataModelExt xmlns:dsp="http://schemas.microsoft.com/office/drawing/2008/diagram" xmlns="" relId="rId27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50B2339-4961-4934-839E-B504DB404C27}" type="doc">
      <dgm:prSet loTypeId="urn:microsoft.com/office/officeart/2005/8/layout/venn2" loCatId="relationship" qsTypeId="urn:microsoft.com/office/officeart/2005/8/quickstyle/3d1" qsCatId="3D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B4BF46E2-D22B-445A-8890-B6CA67F102B9}">
      <dgm:prSet phldrT="[Text]"/>
      <dgm:spPr>
        <a:solidFill>
          <a:srgbClr val="003366"/>
        </a:solidFill>
      </dgm:spPr>
      <dgm:t>
        <a:bodyPr/>
        <a:lstStyle/>
        <a:p>
          <a:r>
            <a:rPr lang="en-US" dirty="0" smtClean="0"/>
            <a:t> </a:t>
          </a:r>
          <a:endParaRPr lang="en-GB" dirty="0"/>
        </a:p>
      </dgm:t>
    </dgm:pt>
    <dgm:pt modelId="{41896E45-6556-4AAA-984B-8D3AD63AF7AB}" type="parTrans" cxnId="{28B1556B-9DA2-4280-B488-2ED1F9BF4B74}">
      <dgm:prSet/>
      <dgm:spPr/>
      <dgm:t>
        <a:bodyPr/>
        <a:lstStyle/>
        <a:p>
          <a:endParaRPr lang="en-GB"/>
        </a:p>
      </dgm:t>
    </dgm:pt>
    <dgm:pt modelId="{A17DDD36-DA38-4C09-8AA8-33E7B8EF15BD}" type="sibTrans" cxnId="{28B1556B-9DA2-4280-B488-2ED1F9BF4B74}">
      <dgm:prSet/>
      <dgm:spPr/>
      <dgm:t>
        <a:bodyPr/>
        <a:lstStyle/>
        <a:p>
          <a:endParaRPr lang="en-GB"/>
        </a:p>
      </dgm:t>
    </dgm:pt>
    <dgm:pt modelId="{1E0F4CF6-6F2E-4BE0-BD3A-B60B61ACEB90}">
      <dgm:prSet phldrT="[Text]"/>
      <dgm:spPr>
        <a:solidFill>
          <a:srgbClr val="A50021"/>
        </a:solidFill>
      </dgm:spPr>
      <dgm:t>
        <a:bodyPr/>
        <a:lstStyle/>
        <a:p>
          <a:r>
            <a:rPr lang="en-US" dirty="0" smtClean="0"/>
            <a:t> </a:t>
          </a:r>
          <a:endParaRPr lang="en-GB" dirty="0"/>
        </a:p>
      </dgm:t>
    </dgm:pt>
    <dgm:pt modelId="{E67B59F7-FB2F-4C8D-BA0A-4E892EFA7719}" type="parTrans" cxnId="{E8F4D533-DD79-4CBE-A0A8-D5E17775BD7D}">
      <dgm:prSet/>
      <dgm:spPr/>
      <dgm:t>
        <a:bodyPr/>
        <a:lstStyle/>
        <a:p>
          <a:endParaRPr lang="en-GB"/>
        </a:p>
      </dgm:t>
    </dgm:pt>
    <dgm:pt modelId="{179DD14F-F12A-4521-A1FE-2DE29C4EB4A7}" type="sibTrans" cxnId="{E8F4D533-DD79-4CBE-A0A8-D5E17775BD7D}">
      <dgm:prSet/>
      <dgm:spPr/>
      <dgm:t>
        <a:bodyPr/>
        <a:lstStyle/>
        <a:p>
          <a:endParaRPr lang="en-GB"/>
        </a:p>
      </dgm:t>
    </dgm:pt>
    <dgm:pt modelId="{DB6A89AE-98A6-4427-A41B-C472A1A155F2}">
      <dgm:prSet phldrT="[Text]"/>
      <dgm:spPr>
        <a:solidFill>
          <a:srgbClr val="003366"/>
        </a:solidFill>
      </dgm:spPr>
      <dgm:t>
        <a:bodyPr/>
        <a:lstStyle/>
        <a:p>
          <a:r>
            <a:rPr lang="en-US" dirty="0" smtClean="0"/>
            <a:t> </a:t>
          </a:r>
          <a:endParaRPr lang="en-GB" dirty="0"/>
        </a:p>
      </dgm:t>
    </dgm:pt>
    <dgm:pt modelId="{CAAAAC95-7EC1-44CD-815B-81AEBBA4D54F}" type="parTrans" cxnId="{2460A701-7FB5-4972-9E65-C641EAFBA861}">
      <dgm:prSet/>
      <dgm:spPr/>
      <dgm:t>
        <a:bodyPr/>
        <a:lstStyle/>
        <a:p>
          <a:endParaRPr lang="en-GB"/>
        </a:p>
      </dgm:t>
    </dgm:pt>
    <dgm:pt modelId="{2EB1E6B2-E5E7-4DFB-A35C-D4A8DC58BE94}" type="sibTrans" cxnId="{2460A701-7FB5-4972-9E65-C641EAFBA861}">
      <dgm:prSet/>
      <dgm:spPr/>
      <dgm:t>
        <a:bodyPr/>
        <a:lstStyle/>
        <a:p>
          <a:endParaRPr lang="en-GB"/>
        </a:p>
      </dgm:t>
    </dgm:pt>
    <dgm:pt modelId="{95B41D29-5915-4E74-8DDE-C41599E166C4}" type="pres">
      <dgm:prSet presAssocID="{350B2339-4961-4934-839E-B504DB404C27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DE7CB315-BCFD-419F-B0BA-18DDED11143E}" type="pres">
      <dgm:prSet presAssocID="{350B2339-4961-4934-839E-B504DB404C27}" presName="comp1" presStyleCnt="0"/>
      <dgm:spPr/>
    </dgm:pt>
    <dgm:pt modelId="{D6A550F5-E119-44C0-B9CF-EE231BA3EEE1}" type="pres">
      <dgm:prSet presAssocID="{350B2339-4961-4934-839E-B504DB404C27}" presName="circle1" presStyleLbl="node1" presStyleIdx="0" presStyleCnt="3" custScaleX="177779" custScaleY="100000" custLinFactNeighborY="5927"/>
      <dgm:spPr/>
      <dgm:t>
        <a:bodyPr/>
        <a:lstStyle/>
        <a:p>
          <a:endParaRPr lang="en-GB"/>
        </a:p>
      </dgm:t>
    </dgm:pt>
    <dgm:pt modelId="{3558D0ED-0C1E-493B-85D9-27765539F255}" type="pres">
      <dgm:prSet presAssocID="{350B2339-4961-4934-839E-B504DB404C27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467CCBD-71A9-40AF-80BA-AB16EB01DF17}" type="pres">
      <dgm:prSet presAssocID="{350B2339-4961-4934-839E-B504DB404C27}" presName="comp2" presStyleCnt="0"/>
      <dgm:spPr/>
    </dgm:pt>
    <dgm:pt modelId="{A2C46543-911C-4CA1-A7DD-E1C152D1F6A8}" type="pres">
      <dgm:prSet presAssocID="{350B2339-4961-4934-839E-B504DB404C27}" presName="circle2" presStyleLbl="node1" presStyleIdx="1" presStyleCnt="3" custScaleX="208725" custScaleY="111651" custLinFactNeighborX="-2188" custLinFactNeighborY="-15833"/>
      <dgm:spPr/>
      <dgm:t>
        <a:bodyPr/>
        <a:lstStyle/>
        <a:p>
          <a:endParaRPr lang="en-GB"/>
        </a:p>
      </dgm:t>
    </dgm:pt>
    <dgm:pt modelId="{27FA2342-84A7-46BD-A829-73B088E19D0F}" type="pres">
      <dgm:prSet presAssocID="{350B2339-4961-4934-839E-B504DB404C27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A4FA5DE-147F-4B18-97B2-7CC63517D6CB}" type="pres">
      <dgm:prSet presAssocID="{350B2339-4961-4934-839E-B504DB404C27}" presName="comp3" presStyleCnt="0"/>
      <dgm:spPr/>
    </dgm:pt>
    <dgm:pt modelId="{1062AA2D-A9DC-44A1-8B8A-097A774F367D}" type="pres">
      <dgm:prSet presAssocID="{350B2339-4961-4934-839E-B504DB404C27}" presName="circle3" presStyleLbl="node1" presStyleIdx="2" presStyleCnt="3" custScaleX="288214" custScaleY="147417" custLinFactNeighborX="-3223" custLinFactNeighborY="-68896"/>
      <dgm:spPr/>
      <dgm:t>
        <a:bodyPr/>
        <a:lstStyle/>
        <a:p>
          <a:endParaRPr lang="en-GB"/>
        </a:p>
      </dgm:t>
    </dgm:pt>
    <dgm:pt modelId="{9E8BD230-0627-45B8-A296-FD73FA7FFD93}" type="pres">
      <dgm:prSet presAssocID="{350B2339-4961-4934-839E-B504DB404C27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F7B6171C-F407-4A1F-B604-7A405CEFB051}" type="presOf" srcId="{DB6A89AE-98A6-4427-A41B-C472A1A155F2}" destId="{9E8BD230-0627-45B8-A296-FD73FA7FFD93}" srcOrd="1" destOrd="0" presId="urn:microsoft.com/office/officeart/2005/8/layout/venn2"/>
    <dgm:cxn modelId="{3701C2A5-197E-4497-A9E6-B4CDB57F5035}" type="presOf" srcId="{1E0F4CF6-6F2E-4BE0-BD3A-B60B61ACEB90}" destId="{A2C46543-911C-4CA1-A7DD-E1C152D1F6A8}" srcOrd="0" destOrd="0" presId="urn:microsoft.com/office/officeart/2005/8/layout/venn2"/>
    <dgm:cxn modelId="{0409529A-D88A-49E5-B037-C3ED6E7B9E69}" type="presOf" srcId="{DB6A89AE-98A6-4427-A41B-C472A1A155F2}" destId="{1062AA2D-A9DC-44A1-8B8A-097A774F367D}" srcOrd="0" destOrd="0" presId="urn:microsoft.com/office/officeart/2005/8/layout/venn2"/>
    <dgm:cxn modelId="{F3D1332D-4291-4014-AEA0-86A479390832}" type="presOf" srcId="{B4BF46E2-D22B-445A-8890-B6CA67F102B9}" destId="{3558D0ED-0C1E-493B-85D9-27765539F255}" srcOrd="1" destOrd="0" presId="urn:microsoft.com/office/officeart/2005/8/layout/venn2"/>
    <dgm:cxn modelId="{2460A701-7FB5-4972-9E65-C641EAFBA861}" srcId="{350B2339-4961-4934-839E-B504DB404C27}" destId="{DB6A89AE-98A6-4427-A41B-C472A1A155F2}" srcOrd="2" destOrd="0" parTransId="{CAAAAC95-7EC1-44CD-815B-81AEBBA4D54F}" sibTransId="{2EB1E6B2-E5E7-4DFB-A35C-D4A8DC58BE94}"/>
    <dgm:cxn modelId="{5FD4E33C-2F65-4FFB-836C-9E606B7856CF}" type="presOf" srcId="{350B2339-4961-4934-839E-B504DB404C27}" destId="{95B41D29-5915-4E74-8DDE-C41599E166C4}" srcOrd="0" destOrd="0" presId="urn:microsoft.com/office/officeart/2005/8/layout/venn2"/>
    <dgm:cxn modelId="{23073711-3C15-42D5-A54D-794CE55079D4}" type="presOf" srcId="{B4BF46E2-D22B-445A-8890-B6CA67F102B9}" destId="{D6A550F5-E119-44C0-B9CF-EE231BA3EEE1}" srcOrd="0" destOrd="0" presId="urn:microsoft.com/office/officeart/2005/8/layout/venn2"/>
    <dgm:cxn modelId="{E8F4D533-DD79-4CBE-A0A8-D5E17775BD7D}" srcId="{350B2339-4961-4934-839E-B504DB404C27}" destId="{1E0F4CF6-6F2E-4BE0-BD3A-B60B61ACEB90}" srcOrd="1" destOrd="0" parTransId="{E67B59F7-FB2F-4C8D-BA0A-4E892EFA7719}" sibTransId="{179DD14F-F12A-4521-A1FE-2DE29C4EB4A7}"/>
    <dgm:cxn modelId="{6493F757-E918-472D-803D-21A226765985}" type="presOf" srcId="{1E0F4CF6-6F2E-4BE0-BD3A-B60B61ACEB90}" destId="{27FA2342-84A7-46BD-A829-73B088E19D0F}" srcOrd="1" destOrd="0" presId="urn:microsoft.com/office/officeart/2005/8/layout/venn2"/>
    <dgm:cxn modelId="{28B1556B-9DA2-4280-B488-2ED1F9BF4B74}" srcId="{350B2339-4961-4934-839E-B504DB404C27}" destId="{B4BF46E2-D22B-445A-8890-B6CA67F102B9}" srcOrd="0" destOrd="0" parTransId="{41896E45-6556-4AAA-984B-8D3AD63AF7AB}" sibTransId="{A17DDD36-DA38-4C09-8AA8-33E7B8EF15BD}"/>
    <dgm:cxn modelId="{89853439-F4E5-47ED-BE06-8AABFC727DB2}" type="presParOf" srcId="{95B41D29-5915-4E74-8DDE-C41599E166C4}" destId="{DE7CB315-BCFD-419F-B0BA-18DDED11143E}" srcOrd="0" destOrd="0" presId="urn:microsoft.com/office/officeart/2005/8/layout/venn2"/>
    <dgm:cxn modelId="{052A2A63-CC2A-4D8D-8964-4FA81863F842}" type="presParOf" srcId="{DE7CB315-BCFD-419F-B0BA-18DDED11143E}" destId="{D6A550F5-E119-44C0-B9CF-EE231BA3EEE1}" srcOrd="0" destOrd="0" presId="urn:microsoft.com/office/officeart/2005/8/layout/venn2"/>
    <dgm:cxn modelId="{F65A964F-B85E-413C-8658-A83A0A7120E7}" type="presParOf" srcId="{DE7CB315-BCFD-419F-B0BA-18DDED11143E}" destId="{3558D0ED-0C1E-493B-85D9-27765539F255}" srcOrd="1" destOrd="0" presId="urn:microsoft.com/office/officeart/2005/8/layout/venn2"/>
    <dgm:cxn modelId="{70EFE59B-716D-4E61-9FAB-50650B9E4A26}" type="presParOf" srcId="{95B41D29-5915-4E74-8DDE-C41599E166C4}" destId="{F467CCBD-71A9-40AF-80BA-AB16EB01DF17}" srcOrd="1" destOrd="0" presId="urn:microsoft.com/office/officeart/2005/8/layout/venn2"/>
    <dgm:cxn modelId="{45009969-1A0A-4DB8-86B0-9A0173AED70A}" type="presParOf" srcId="{F467CCBD-71A9-40AF-80BA-AB16EB01DF17}" destId="{A2C46543-911C-4CA1-A7DD-E1C152D1F6A8}" srcOrd="0" destOrd="0" presId="urn:microsoft.com/office/officeart/2005/8/layout/venn2"/>
    <dgm:cxn modelId="{E1BB0B7D-4824-457A-8DAA-0FC483502BF5}" type="presParOf" srcId="{F467CCBD-71A9-40AF-80BA-AB16EB01DF17}" destId="{27FA2342-84A7-46BD-A829-73B088E19D0F}" srcOrd="1" destOrd="0" presId="urn:microsoft.com/office/officeart/2005/8/layout/venn2"/>
    <dgm:cxn modelId="{41858F01-0460-49E0-831E-EF1F99E45E66}" type="presParOf" srcId="{95B41D29-5915-4E74-8DDE-C41599E166C4}" destId="{FA4FA5DE-147F-4B18-97B2-7CC63517D6CB}" srcOrd="2" destOrd="0" presId="urn:microsoft.com/office/officeart/2005/8/layout/venn2"/>
    <dgm:cxn modelId="{659BCA56-D1DC-44F9-A372-94D7CC3A5828}" type="presParOf" srcId="{FA4FA5DE-147F-4B18-97B2-7CC63517D6CB}" destId="{1062AA2D-A9DC-44A1-8B8A-097A774F367D}" srcOrd="0" destOrd="0" presId="urn:microsoft.com/office/officeart/2005/8/layout/venn2"/>
    <dgm:cxn modelId="{6256A02C-9F4A-4E7A-ADF5-573A1347786E}" type="presParOf" srcId="{FA4FA5DE-147F-4B18-97B2-7CC63517D6CB}" destId="{9E8BD230-0627-45B8-A296-FD73FA7FFD93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584EB18-F9DD-42DE-BC66-D1A803919B6C}">
      <dsp:nvSpPr>
        <dsp:cNvPr id="0" name=""/>
        <dsp:cNvSpPr/>
      </dsp:nvSpPr>
      <dsp:spPr>
        <a:xfrm>
          <a:off x="603179" y="777510"/>
          <a:ext cx="3134210" cy="3129668"/>
        </a:xfrm>
        <a:prstGeom prst="pie">
          <a:avLst>
            <a:gd name="adj1" fmla="val 16200000"/>
            <a:gd name="adj2" fmla="val 198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Strategy</a:t>
          </a:r>
          <a:endParaRPr lang="en-GB" sz="1300" b="1" kern="1200" dirty="0" smtClean="0"/>
        </a:p>
      </dsp:txBody>
      <dsp:txXfrm>
        <a:off x="2203865" y="1112832"/>
        <a:ext cx="914144" cy="670643"/>
      </dsp:txXfrm>
    </dsp:sp>
    <dsp:sp modelId="{C772B63C-1B3D-4E5A-9F44-864E106BDC10}">
      <dsp:nvSpPr>
        <dsp:cNvPr id="0" name=""/>
        <dsp:cNvSpPr/>
      </dsp:nvSpPr>
      <dsp:spPr>
        <a:xfrm>
          <a:off x="495074" y="742139"/>
          <a:ext cx="3291166" cy="3291166"/>
        </a:xfrm>
        <a:prstGeom prst="pie">
          <a:avLst>
            <a:gd name="adj1" fmla="val 19800000"/>
            <a:gd name="adj2" fmla="val 18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Design</a:t>
          </a:r>
          <a:endParaRPr lang="en-GB" sz="1300" b="1" kern="1200" dirty="0" smtClean="0"/>
        </a:p>
      </dsp:txBody>
      <dsp:txXfrm>
        <a:off x="2747956" y="2054687"/>
        <a:ext cx="995185" cy="666069"/>
      </dsp:txXfrm>
    </dsp:sp>
    <dsp:sp modelId="{D53EA0A1-211F-425A-840F-FF28B412BF87}">
      <dsp:nvSpPr>
        <dsp:cNvPr id="0" name=""/>
        <dsp:cNvSpPr/>
      </dsp:nvSpPr>
      <dsp:spPr>
        <a:xfrm>
          <a:off x="544211" y="809197"/>
          <a:ext cx="3226396" cy="3213330"/>
        </a:xfrm>
        <a:prstGeom prst="pie">
          <a:avLst>
            <a:gd name="adj1" fmla="val 1800000"/>
            <a:gd name="adj2" fmla="val 54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Capability</a:t>
          </a:r>
          <a:endParaRPr lang="en-GB" sz="1300" b="1" kern="1200" dirty="0" smtClean="0"/>
        </a:p>
      </dsp:txBody>
      <dsp:txXfrm>
        <a:off x="2191978" y="2989671"/>
        <a:ext cx="941032" cy="688570"/>
      </dsp:txXfrm>
    </dsp:sp>
    <dsp:sp modelId="{D77CC484-34B8-4A2D-B515-00B47264B2A6}">
      <dsp:nvSpPr>
        <dsp:cNvPr id="0" name=""/>
        <dsp:cNvSpPr/>
      </dsp:nvSpPr>
      <dsp:spPr>
        <a:xfrm>
          <a:off x="470127" y="723544"/>
          <a:ext cx="3291166" cy="3291166"/>
        </a:xfrm>
        <a:prstGeom prst="pie">
          <a:avLst>
            <a:gd name="adj1" fmla="val 5400000"/>
            <a:gd name="adj2" fmla="val 90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Rewards</a:t>
          </a:r>
          <a:endParaRPr lang="en-GB" sz="1300" b="1" kern="1200" dirty="0" smtClean="0"/>
        </a:p>
      </dsp:txBody>
      <dsp:txXfrm>
        <a:off x="1120524" y="2956835"/>
        <a:ext cx="959923" cy="705249"/>
      </dsp:txXfrm>
    </dsp:sp>
    <dsp:sp modelId="{0AB1A9F6-583B-40BE-87D7-65DC7B5FC359}">
      <dsp:nvSpPr>
        <dsp:cNvPr id="0" name=""/>
        <dsp:cNvSpPr/>
      </dsp:nvSpPr>
      <dsp:spPr>
        <a:xfrm>
          <a:off x="474899" y="714197"/>
          <a:ext cx="3291890" cy="3253515"/>
        </a:xfrm>
        <a:prstGeom prst="pie">
          <a:avLst>
            <a:gd name="adj1" fmla="val 9000000"/>
            <a:gd name="adj2" fmla="val 126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Work</a:t>
          </a:r>
          <a:r>
            <a:rPr lang="en-US" sz="2200" b="1" kern="1200" dirty="0" smtClean="0"/>
            <a:t/>
          </a:r>
          <a:br>
            <a:rPr lang="en-US" sz="2200" b="1" kern="1200" dirty="0" smtClean="0"/>
          </a:br>
          <a:r>
            <a:rPr lang="en-US" sz="1300" b="1" kern="1200" dirty="0" smtClean="0"/>
            <a:t>Design</a:t>
          </a:r>
          <a:endParaRPr lang="en-GB" sz="1300" b="1" kern="1200" dirty="0" smtClean="0"/>
        </a:p>
      </dsp:txBody>
      <dsp:txXfrm>
        <a:off x="525845" y="2011730"/>
        <a:ext cx="995404" cy="658449"/>
      </dsp:txXfrm>
    </dsp:sp>
    <dsp:sp modelId="{A2E4DBD9-9B0C-45C9-9ACC-8669204E3907}">
      <dsp:nvSpPr>
        <dsp:cNvPr id="0" name=""/>
        <dsp:cNvSpPr/>
      </dsp:nvSpPr>
      <dsp:spPr>
        <a:xfrm>
          <a:off x="404847" y="794156"/>
          <a:ext cx="3492223" cy="3114595"/>
        </a:xfrm>
        <a:prstGeom prst="pie">
          <a:avLst>
            <a:gd name="adj1" fmla="val 12600000"/>
            <a:gd name="adj2" fmla="val 162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>
          <a:bevelT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6510" tIns="16510" rIns="16510" bIns="1651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300" b="1" kern="1200" dirty="0" smtClean="0"/>
            <a:t>Technology</a:t>
          </a:r>
          <a:endParaRPr lang="en-GB" sz="1300" b="1" kern="1200" dirty="0" smtClean="0"/>
        </a:p>
      </dsp:txBody>
      <dsp:txXfrm>
        <a:off x="1094977" y="1127863"/>
        <a:ext cx="1018565" cy="667413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6E0040C2-C2AB-476B-8E60-513C28AD884E}">
      <dsp:nvSpPr>
        <dsp:cNvPr id="0" name=""/>
        <dsp:cNvSpPr/>
      </dsp:nvSpPr>
      <dsp:spPr>
        <a:xfrm>
          <a:off x="247766" y="0"/>
          <a:ext cx="1174247" cy="1174247"/>
        </a:xfrm>
        <a:prstGeom prst="ellipse">
          <a:avLst/>
        </a:prstGeom>
        <a:solidFill>
          <a:srgbClr val="014477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tx1"/>
        </a:fontRef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bg1"/>
              </a:solidFill>
              <a:latin typeface="+mj-lt"/>
            </a:rPr>
            <a:t>Metrics &amp; Feedback</a:t>
          </a:r>
          <a:endParaRPr lang="en-GB" sz="1500" b="1" kern="1200" dirty="0">
            <a:solidFill>
              <a:schemeClr val="bg1"/>
            </a:solidFill>
            <a:latin typeface="+mj-lt"/>
          </a:endParaRPr>
        </a:p>
      </dsp:txBody>
      <dsp:txXfrm>
        <a:off x="247766" y="0"/>
        <a:ext cx="1174247" cy="1174247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89EA6C9-0271-4628-B499-84073115EC84}">
      <dsp:nvSpPr>
        <dsp:cNvPr id="0" name=""/>
        <dsp:cNvSpPr/>
      </dsp:nvSpPr>
      <dsp:spPr>
        <a:xfrm>
          <a:off x="1028716" y="429761"/>
          <a:ext cx="3456432" cy="3456432"/>
        </a:xfrm>
        <a:prstGeom prst="pie">
          <a:avLst>
            <a:gd name="adj1" fmla="val 16200000"/>
            <a:gd name="adj2" fmla="val 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Performance Management</a:t>
          </a:r>
          <a:endParaRPr lang="en-GB" sz="1700" b="1" kern="1200" dirty="0"/>
        </a:p>
      </dsp:txBody>
      <dsp:txXfrm>
        <a:off x="2796434" y="1069201"/>
        <a:ext cx="1275588" cy="1028700"/>
      </dsp:txXfrm>
    </dsp:sp>
    <dsp:sp modelId="{A2FF584D-98CA-4EDD-BB48-4ABBC47FD008}">
      <dsp:nvSpPr>
        <dsp:cNvPr id="0" name=""/>
        <dsp:cNvSpPr/>
      </dsp:nvSpPr>
      <dsp:spPr>
        <a:xfrm>
          <a:off x="1028707" y="402015"/>
          <a:ext cx="3456432" cy="3456432"/>
        </a:xfrm>
        <a:prstGeom prst="pie">
          <a:avLst>
            <a:gd name="adj1" fmla="val 0"/>
            <a:gd name="adj2" fmla="val 54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kern="1200" dirty="0" smtClean="0"/>
            <a:t>  </a:t>
          </a:r>
          <a:r>
            <a:rPr lang="en-US" sz="1700" b="1" kern="1200" dirty="0" smtClean="0"/>
            <a:t>Organisation Design</a:t>
          </a:r>
          <a:endParaRPr lang="en-GB" sz="1700" b="1" kern="1200" dirty="0"/>
        </a:p>
      </dsp:txBody>
      <dsp:txXfrm>
        <a:off x="2818645" y="2191953"/>
        <a:ext cx="1275588" cy="1028700"/>
      </dsp:txXfrm>
    </dsp:sp>
    <dsp:sp modelId="{0A1FB82E-4DB0-425E-B3D1-6D1482FAD8AF}">
      <dsp:nvSpPr>
        <dsp:cNvPr id="0" name=""/>
        <dsp:cNvSpPr/>
      </dsp:nvSpPr>
      <dsp:spPr>
        <a:xfrm>
          <a:off x="1028707" y="402015"/>
          <a:ext cx="3456432" cy="3456432"/>
        </a:xfrm>
        <a:prstGeom prst="pie">
          <a:avLst>
            <a:gd name="adj1" fmla="val 5400000"/>
            <a:gd name="adj2" fmla="val 108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Reward Management</a:t>
          </a:r>
          <a:endParaRPr lang="en-GB" sz="1700" b="1" kern="1200" dirty="0"/>
        </a:p>
      </dsp:txBody>
      <dsp:txXfrm>
        <a:off x="1419613" y="2191953"/>
        <a:ext cx="1275588" cy="1028700"/>
      </dsp:txXfrm>
    </dsp:sp>
    <dsp:sp modelId="{943E59EC-F2BC-4C2D-9AF5-2052E177B89F}">
      <dsp:nvSpPr>
        <dsp:cNvPr id="0" name=""/>
        <dsp:cNvSpPr/>
      </dsp:nvSpPr>
      <dsp:spPr>
        <a:xfrm>
          <a:off x="1028707" y="429771"/>
          <a:ext cx="3456432" cy="3456432"/>
        </a:xfrm>
        <a:prstGeom prst="pie">
          <a:avLst>
            <a:gd name="adj1" fmla="val 10800000"/>
            <a:gd name="adj2" fmla="val 162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700" b="1" kern="1200" dirty="0" smtClean="0"/>
            <a:t>HR Strategy &amp; Planning</a:t>
          </a:r>
          <a:endParaRPr lang="en-GB" sz="1700" b="1" kern="1200" dirty="0"/>
        </a:p>
      </dsp:txBody>
      <dsp:txXfrm>
        <a:off x="1419613" y="1067565"/>
        <a:ext cx="1275588" cy="1028700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89EA6C9-0271-4628-B499-84073115EC84}">
      <dsp:nvSpPr>
        <dsp:cNvPr id="0" name=""/>
        <dsp:cNvSpPr/>
      </dsp:nvSpPr>
      <dsp:spPr>
        <a:xfrm>
          <a:off x="130927" y="92880"/>
          <a:ext cx="747011" cy="747011"/>
        </a:xfrm>
        <a:prstGeom prst="pie">
          <a:avLst>
            <a:gd name="adj1" fmla="val 16200000"/>
            <a:gd name="adj2" fmla="val 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" b="1" kern="1200" dirty="0" smtClean="0"/>
            <a:t>Performance Management</a:t>
          </a:r>
          <a:endParaRPr lang="en-GB" sz="300" b="1" kern="1200" dirty="0"/>
        </a:p>
      </dsp:txBody>
      <dsp:txXfrm>
        <a:off x="512970" y="231077"/>
        <a:ext cx="275682" cy="222324"/>
      </dsp:txXfrm>
    </dsp:sp>
    <dsp:sp modelId="{A2FF584D-98CA-4EDD-BB48-4ABBC47FD008}">
      <dsp:nvSpPr>
        <dsp:cNvPr id="0" name=""/>
        <dsp:cNvSpPr/>
      </dsp:nvSpPr>
      <dsp:spPr>
        <a:xfrm>
          <a:off x="130925" y="86884"/>
          <a:ext cx="747011" cy="747011"/>
        </a:xfrm>
        <a:prstGeom prst="pie">
          <a:avLst>
            <a:gd name="adj1" fmla="val 0"/>
            <a:gd name="adj2" fmla="val 54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/>
            <a:t>  </a:t>
          </a:r>
          <a:r>
            <a:rPr lang="en-US" sz="300" b="1" kern="1200" dirty="0" smtClean="0"/>
            <a:t>Organisation Design</a:t>
          </a:r>
          <a:endParaRPr lang="en-GB" sz="400" b="1" kern="1200" dirty="0"/>
        </a:p>
      </dsp:txBody>
      <dsp:txXfrm>
        <a:off x="517770" y="473729"/>
        <a:ext cx="275682" cy="222324"/>
      </dsp:txXfrm>
    </dsp:sp>
    <dsp:sp modelId="{0A1FB82E-4DB0-425E-B3D1-6D1482FAD8AF}">
      <dsp:nvSpPr>
        <dsp:cNvPr id="0" name=""/>
        <dsp:cNvSpPr/>
      </dsp:nvSpPr>
      <dsp:spPr>
        <a:xfrm>
          <a:off x="130925" y="86884"/>
          <a:ext cx="747011" cy="747011"/>
        </a:xfrm>
        <a:prstGeom prst="pie">
          <a:avLst>
            <a:gd name="adj1" fmla="val 5400000"/>
            <a:gd name="adj2" fmla="val 108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" b="1" kern="1200" dirty="0" smtClean="0"/>
            <a:t>Reward Management</a:t>
          </a:r>
          <a:endParaRPr lang="en-GB" sz="300" b="1" kern="1200" dirty="0"/>
        </a:p>
      </dsp:txBody>
      <dsp:txXfrm>
        <a:off x="215408" y="473729"/>
        <a:ext cx="275682" cy="222324"/>
      </dsp:txXfrm>
    </dsp:sp>
    <dsp:sp modelId="{943E59EC-F2BC-4C2D-9AF5-2052E177B89F}">
      <dsp:nvSpPr>
        <dsp:cNvPr id="0" name=""/>
        <dsp:cNvSpPr/>
      </dsp:nvSpPr>
      <dsp:spPr>
        <a:xfrm>
          <a:off x="57912" y="4392"/>
          <a:ext cx="747011" cy="747011"/>
        </a:xfrm>
        <a:prstGeom prst="pie">
          <a:avLst>
            <a:gd name="adj1" fmla="val 10800000"/>
            <a:gd name="adj2" fmla="val 162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" b="1" kern="1200" dirty="0" smtClean="0"/>
            <a:t>HR Strategy &amp; Planning</a:t>
          </a:r>
          <a:endParaRPr lang="en-GB" sz="300" b="1" kern="1200" dirty="0"/>
        </a:p>
      </dsp:txBody>
      <dsp:txXfrm>
        <a:off x="142395" y="142233"/>
        <a:ext cx="275682" cy="222324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89EA6C9-0271-4628-B499-84073115EC84}">
      <dsp:nvSpPr>
        <dsp:cNvPr id="0" name=""/>
        <dsp:cNvSpPr/>
      </dsp:nvSpPr>
      <dsp:spPr>
        <a:xfrm>
          <a:off x="156637" y="95502"/>
          <a:ext cx="768096" cy="768096"/>
        </a:xfrm>
        <a:prstGeom prst="pie">
          <a:avLst>
            <a:gd name="adj1" fmla="val 16200000"/>
            <a:gd name="adj2" fmla="val 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" b="1" kern="1200" dirty="0" smtClean="0"/>
            <a:t>Performance Management</a:t>
          </a:r>
          <a:endParaRPr lang="en-GB" sz="300" b="1" kern="1200" dirty="0"/>
        </a:p>
      </dsp:txBody>
      <dsp:txXfrm>
        <a:off x="549463" y="237600"/>
        <a:ext cx="283464" cy="228600"/>
      </dsp:txXfrm>
    </dsp:sp>
    <dsp:sp modelId="{A2FF584D-98CA-4EDD-BB48-4ABBC47FD008}">
      <dsp:nvSpPr>
        <dsp:cNvPr id="0" name=""/>
        <dsp:cNvSpPr/>
      </dsp:nvSpPr>
      <dsp:spPr>
        <a:xfrm>
          <a:off x="222506" y="146306"/>
          <a:ext cx="768096" cy="768096"/>
        </a:xfrm>
        <a:prstGeom prst="pie">
          <a:avLst>
            <a:gd name="adj1" fmla="val 0"/>
            <a:gd name="adj2" fmla="val 54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080" tIns="5080" rIns="5080" bIns="5080" numCol="1" spcCol="1270" anchor="ctr" anchorCtr="0">
          <a:noAutofit/>
        </a:bodyPr>
        <a:lstStyle/>
        <a:p>
          <a:pPr lvl="0" algn="ctr" defTabSz="177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400" kern="1200" dirty="0" smtClean="0"/>
            <a:t>  </a:t>
          </a:r>
          <a:r>
            <a:rPr lang="en-US" sz="300" b="1" kern="1200" dirty="0" smtClean="0"/>
            <a:t>Organisation Design</a:t>
          </a:r>
          <a:endParaRPr lang="en-GB" sz="300" b="1" kern="1200" dirty="0"/>
        </a:p>
      </dsp:txBody>
      <dsp:txXfrm>
        <a:off x="620270" y="544070"/>
        <a:ext cx="283464" cy="228600"/>
      </dsp:txXfrm>
    </dsp:sp>
    <dsp:sp modelId="{0A1FB82E-4DB0-425E-B3D1-6D1482FAD8AF}">
      <dsp:nvSpPr>
        <dsp:cNvPr id="0" name=""/>
        <dsp:cNvSpPr/>
      </dsp:nvSpPr>
      <dsp:spPr>
        <a:xfrm>
          <a:off x="156634" y="89336"/>
          <a:ext cx="768096" cy="768096"/>
        </a:xfrm>
        <a:prstGeom prst="pie">
          <a:avLst>
            <a:gd name="adj1" fmla="val 5400000"/>
            <a:gd name="adj2" fmla="val 108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" b="1" kern="1200" dirty="0" smtClean="0"/>
            <a:t>Reward Management</a:t>
          </a:r>
          <a:endParaRPr lang="en-GB" sz="300" b="1" kern="1200" dirty="0"/>
        </a:p>
      </dsp:txBody>
      <dsp:txXfrm>
        <a:off x="243502" y="487100"/>
        <a:ext cx="283464" cy="228600"/>
      </dsp:txXfrm>
    </dsp:sp>
    <dsp:sp modelId="{943E59EC-F2BC-4C2D-9AF5-2052E177B89F}">
      <dsp:nvSpPr>
        <dsp:cNvPr id="0" name=""/>
        <dsp:cNvSpPr/>
      </dsp:nvSpPr>
      <dsp:spPr>
        <a:xfrm>
          <a:off x="152402" y="104514"/>
          <a:ext cx="768096" cy="768096"/>
        </a:xfrm>
        <a:prstGeom prst="pie">
          <a:avLst>
            <a:gd name="adj1" fmla="val 10800000"/>
            <a:gd name="adj2" fmla="val 162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810" tIns="3810" rIns="3810" bIns="3810" numCol="1" spcCol="1270" anchor="ctr" anchorCtr="0">
          <a:noAutofit/>
        </a:bodyPr>
        <a:lstStyle/>
        <a:p>
          <a:pPr lvl="0" algn="ctr" defTabSz="133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300" b="1" kern="1200" dirty="0" smtClean="0"/>
            <a:t>HR Strategy &amp; Planning</a:t>
          </a:r>
          <a:endParaRPr lang="en-GB" sz="300" b="1" kern="1200" dirty="0"/>
        </a:p>
      </dsp:txBody>
      <dsp:txXfrm>
        <a:off x="239270" y="246246"/>
        <a:ext cx="283464" cy="228600"/>
      </dsp:txXfrm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89EA6C9-0271-4628-B499-84073115EC84}">
      <dsp:nvSpPr>
        <dsp:cNvPr id="0" name=""/>
        <dsp:cNvSpPr/>
      </dsp:nvSpPr>
      <dsp:spPr>
        <a:xfrm>
          <a:off x="97742" y="49808"/>
          <a:ext cx="768096" cy="768096"/>
        </a:xfrm>
        <a:prstGeom prst="pie">
          <a:avLst>
            <a:gd name="adj1" fmla="val 16200000"/>
            <a:gd name="adj2" fmla="val 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b="1" kern="1200" dirty="0" smtClean="0"/>
            <a:t>Performance Management</a:t>
          </a:r>
          <a:endParaRPr lang="en-GB" sz="500" b="1" kern="1200" dirty="0"/>
        </a:p>
      </dsp:txBody>
      <dsp:txXfrm>
        <a:off x="490568" y="191906"/>
        <a:ext cx="283464" cy="228600"/>
      </dsp:txXfrm>
    </dsp:sp>
    <dsp:sp modelId="{A2FF584D-98CA-4EDD-BB48-4ABBC47FD008}">
      <dsp:nvSpPr>
        <dsp:cNvPr id="0" name=""/>
        <dsp:cNvSpPr/>
      </dsp:nvSpPr>
      <dsp:spPr>
        <a:xfrm>
          <a:off x="80434" y="89336"/>
          <a:ext cx="768096" cy="768096"/>
        </a:xfrm>
        <a:prstGeom prst="pie">
          <a:avLst>
            <a:gd name="adj1" fmla="val 0"/>
            <a:gd name="adj2" fmla="val 54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/>
            <a:t>  </a:t>
          </a:r>
          <a:r>
            <a:rPr lang="en-US" sz="500" b="1" kern="1200" dirty="0" smtClean="0"/>
            <a:t>Organisation Design</a:t>
          </a:r>
          <a:endParaRPr lang="en-GB" sz="500" b="1" kern="1200" dirty="0"/>
        </a:p>
      </dsp:txBody>
      <dsp:txXfrm>
        <a:off x="478198" y="487100"/>
        <a:ext cx="283464" cy="228600"/>
      </dsp:txXfrm>
    </dsp:sp>
    <dsp:sp modelId="{0A1FB82E-4DB0-425E-B3D1-6D1482FAD8AF}">
      <dsp:nvSpPr>
        <dsp:cNvPr id="0" name=""/>
        <dsp:cNvSpPr/>
      </dsp:nvSpPr>
      <dsp:spPr>
        <a:xfrm>
          <a:off x="80434" y="89336"/>
          <a:ext cx="768096" cy="768096"/>
        </a:xfrm>
        <a:prstGeom prst="pie">
          <a:avLst>
            <a:gd name="adj1" fmla="val 5400000"/>
            <a:gd name="adj2" fmla="val 108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b="1" kern="1200" dirty="0" smtClean="0"/>
            <a:t>Reward Management</a:t>
          </a:r>
          <a:endParaRPr lang="en-GB" sz="500" b="1" kern="1200" dirty="0"/>
        </a:p>
      </dsp:txBody>
      <dsp:txXfrm>
        <a:off x="167302" y="487100"/>
        <a:ext cx="283464" cy="228600"/>
      </dsp:txXfrm>
    </dsp:sp>
    <dsp:sp modelId="{943E59EC-F2BC-4C2D-9AF5-2052E177B89F}">
      <dsp:nvSpPr>
        <dsp:cNvPr id="0" name=""/>
        <dsp:cNvSpPr/>
      </dsp:nvSpPr>
      <dsp:spPr>
        <a:xfrm>
          <a:off x="80434" y="95504"/>
          <a:ext cx="768096" cy="768096"/>
        </a:xfrm>
        <a:prstGeom prst="pie">
          <a:avLst>
            <a:gd name="adj1" fmla="val 10800000"/>
            <a:gd name="adj2" fmla="val 162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b="1" kern="1200" dirty="0" smtClean="0"/>
            <a:t>HR Strategy &amp; Planning</a:t>
          </a:r>
          <a:endParaRPr lang="en-GB" sz="500" b="1" kern="1200" dirty="0"/>
        </a:p>
      </dsp:txBody>
      <dsp:txXfrm>
        <a:off x="167302" y="237236"/>
        <a:ext cx="283464" cy="228600"/>
      </dsp:txXfrm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89EA6C9-0271-4628-B499-84073115EC84}">
      <dsp:nvSpPr>
        <dsp:cNvPr id="0" name=""/>
        <dsp:cNvSpPr/>
      </dsp:nvSpPr>
      <dsp:spPr>
        <a:xfrm>
          <a:off x="69999" y="98685"/>
          <a:ext cx="793699" cy="793699"/>
        </a:xfrm>
        <a:prstGeom prst="pie">
          <a:avLst>
            <a:gd name="adj1" fmla="val 16200000"/>
            <a:gd name="adj2" fmla="val 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b="1" kern="1200" dirty="0" smtClean="0"/>
            <a:t>Performance Management</a:t>
          </a:r>
          <a:endParaRPr lang="en-GB" sz="500" b="1" kern="1200" dirty="0"/>
        </a:p>
      </dsp:txBody>
      <dsp:txXfrm>
        <a:off x="475920" y="245520"/>
        <a:ext cx="292912" cy="236220"/>
      </dsp:txXfrm>
    </dsp:sp>
    <dsp:sp modelId="{A2FF584D-98CA-4EDD-BB48-4ABBC47FD008}">
      <dsp:nvSpPr>
        <dsp:cNvPr id="0" name=""/>
        <dsp:cNvSpPr/>
      </dsp:nvSpPr>
      <dsp:spPr>
        <a:xfrm>
          <a:off x="69997" y="92314"/>
          <a:ext cx="793699" cy="793699"/>
        </a:xfrm>
        <a:prstGeom prst="pie">
          <a:avLst>
            <a:gd name="adj1" fmla="val 0"/>
            <a:gd name="adj2" fmla="val 54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kern="1200" dirty="0" smtClean="0"/>
            <a:t>  </a:t>
          </a:r>
          <a:r>
            <a:rPr lang="en-US" sz="500" b="1" kern="1200" dirty="0" smtClean="0"/>
            <a:t>Organisation Design</a:t>
          </a:r>
          <a:endParaRPr lang="en-GB" sz="500" b="1" kern="1200" dirty="0"/>
        </a:p>
      </dsp:txBody>
      <dsp:txXfrm>
        <a:off x="481020" y="503337"/>
        <a:ext cx="292912" cy="236220"/>
      </dsp:txXfrm>
    </dsp:sp>
    <dsp:sp modelId="{0A1FB82E-4DB0-425E-B3D1-6D1482FAD8AF}">
      <dsp:nvSpPr>
        <dsp:cNvPr id="0" name=""/>
        <dsp:cNvSpPr/>
      </dsp:nvSpPr>
      <dsp:spPr>
        <a:xfrm>
          <a:off x="20073" y="151183"/>
          <a:ext cx="793699" cy="793699"/>
        </a:xfrm>
        <a:prstGeom prst="pie">
          <a:avLst>
            <a:gd name="adj1" fmla="val 5400000"/>
            <a:gd name="adj2" fmla="val 108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b="1" kern="1200" dirty="0" smtClean="0"/>
            <a:t>Reward Management</a:t>
          </a:r>
          <a:endParaRPr lang="en-GB" sz="500" b="1" kern="1200" dirty="0"/>
        </a:p>
      </dsp:txBody>
      <dsp:txXfrm>
        <a:off x="109837" y="562206"/>
        <a:ext cx="292912" cy="236220"/>
      </dsp:txXfrm>
    </dsp:sp>
    <dsp:sp modelId="{943E59EC-F2BC-4C2D-9AF5-2052E177B89F}">
      <dsp:nvSpPr>
        <dsp:cNvPr id="0" name=""/>
        <dsp:cNvSpPr/>
      </dsp:nvSpPr>
      <dsp:spPr>
        <a:xfrm>
          <a:off x="69997" y="98688"/>
          <a:ext cx="793699" cy="793699"/>
        </a:xfrm>
        <a:prstGeom prst="pie">
          <a:avLst>
            <a:gd name="adj1" fmla="val 10800000"/>
            <a:gd name="adj2" fmla="val 16200000"/>
          </a:avLst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500" b="1" kern="1200" dirty="0" smtClean="0"/>
            <a:t>HR Strategy &amp; Planning</a:t>
          </a:r>
          <a:endParaRPr lang="en-GB" sz="500" b="1" kern="1200" dirty="0"/>
        </a:p>
      </dsp:txBody>
      <dsp:txXfrm>
        <a:off x="159761" y="245144"/>
        <a:ext cx="292912" cy="236220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6A550F5-E119-44C0-B9CF-EE231BA3EEE1}">
      <dsp:nvSpPr>
        <dsp:cNvPr id="0" name=""/>
        <dsp:cNvSpPr/>
      </dsp:nvSpPr>
      <dsp:spPr>
        <a:xfrm>
          <a:off x="166841" y="-5"/>
          <a:ext cx="7702879" cy="4332840"/>
        </a:xfrm>
        <a:prstGeom prst="ellipse">
          <a:avLst/>
        </a:prstGeom>
        <a:solidFill>
          <a:srgbClr val="0033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 </a:t>
          </a:r>
          <a:endParaRPr lang="en-GB" sz="2200" kern="1200" dirty="0"/>
        </a:p>
      </dsp:txBody>
      <dsp:txXfrm>
        <a:off x="2672203" y="216636"/>
        <a:ext cx="2692156" cy="649926"/>
      </dsp:txXfrm>
    </dsp:sp>
    <dsp:sp modelId="{A2C46543-911C-4CA1-A7DD-E1C152D1F6A8}">
      <dsp:nvSpPr>
        <dsp:cNvPr id="0" name=""/>
        <dsp:cNvSpPr/>
      </dsp:nvSpPr>
      <dsp:spPr>
        <a:xfrm>
          <a:off x="555784" y="122576"/>
          <a:ext cx="6782790" cy="3628244"/>
        </a:xfrm>
        <a:prstGeom prst="ellipse">
          <a:avLst/>
        </a:prstGeom>
        <a:solidFill>
          <a:srgbClr val="A50021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 </a:t>
          </a:r>
          <a:endParaRPr lang="en-GB" sz="2200" kern="1200" dirty="0"/>
        </a:p>
      </dsp:txBody>
      <dsp:txXfrm>
        <a:off x="2366789" y="349341"/>
        <a:ext cx="3160780" cy="680295"/>
      </dsp:txXfrm>
    </dsp:sp>
    <dsp:sp modelId="{1062AA2D-A9DC-44A1-8B8A-097A774F367D}">
      <dsp:nvSpPr>
        <dsp:cNvPr id="0" name=""/>
        <dsp:cNvSpPr/>
      </dsp:nvSpPr>
      <dsp:spPr>
        <a:xfrm>
          <a:off x="826494" y="0"/>
          <a:ext cx="6243925" cy="3193671"/>
        </a:xfrm>
        <a:prstGeom prst="ellipse">
          <a:avLst/>
        </a:prstGeom>
        <a:solidFill>
          <a:srgbClr val="003366"/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lvl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kern="1200" dirty="0" smtClean="0"/>
            <a:t> </a:t>
          </a:r>
          <a:endParaRPr lang="en-GB" sz="2200" kern="1200" dirty="0"/>
        </a:p>
      </dsp:txBody>
      <dsp:txXfrm>
        <a:off x="1740896" y="798417"/>
        <a:ext cx="4415122" cy="159683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art3">
  <dgm:title val=""/>
  <dgm:desc val=""/>
  <dgm:catLst>
    <dgm:cat type="relationship" pri="27000"/>
    <dgm:cat type="cycle" pri="8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ompositeShape">
    <dgm:varLst>
      <dgm:chMax val="7"/>
      <dgm:dir/>
      <dgm:resizeHandles val="exact"/>
    </dgm:varLst>
    <dgm:alg type="composite">
      <dgm:param type="horzAlign" val="ctr"/>
      <dgm:param type="vertAlign" val="mid"/>
      <dgm:param type="ar" val="1"/>
    </dgm:alg>
    <dgm:presOf/>
    <dgm:shape xmlns:r="http://schemas.openxmlformats.org/officeDocument/2006/relationships" r:blip="">
      <dgm:adjLst/>
    </dgm:shape>
    <dgm:choose name="Name0">
      <dgm:if name="Name1" axis="ch" ptType="node" func="cnt" op="equ" val="1">
        <dgm:constrLst>
          <dgm:constr type="l" for="ch" forName="wedge1" refType="w" fact="0.08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205"/>
          <dgm:constr type="t" for="ch" forName="wedge1Tx" refType="h" fact="0.205"/>
          <dgm:constr type="w" for="ch" forName="wedge1Tx" refType="w" fact="0.59"/>
          <dgm:constr type="h" for="ch" forName="wedge1Tx" refType="h" fact="0.59"/>
          <dgm:constr type="primFontSz" for="ch" ptType="node" op="equ"/>
        </dgm:constrLst>
      </dgm:if>
      <dgm:if name="Name2" axis="ch" ptType="node" func="cnt" op="equ" val="2">
        <dgm:constrLst>
          <dgm:constr type="l" for="ch" forName="wedge1" refType="w" fact="0.1"/>
          <dgm:constr type="t" for="ch" forName="wedge1" refType="w" fact="0.08"/>
          <dgm:constr type="w" for="ch" forName="wedge1" refType="w" fact="0.84"/>
          <dgm:constr type="h" for="ch" forName="wedge1" refType="h" fact="0.84"/>
          <dgm:constr type="l" for="ch" forName="wedge1Tx" refType="w" fact="0.52"/>
          <dgm:constr type="t" for="ch" forName="wedge1Tx" refType="h" fact="0.205"/>
          <dgm:constr type="w" for="ch" forName="wedge1Tx" refType="w" fact="0.295"/>
          <dgm:constr type="h" for="ch" forName="wedge1Tx" refType="h" fact="0.59"/>
          <dgm:constr type="l" for="ch" forName="wedge2" refType="w" fact="0.08"/>
          <dgm:constr type="t" for="ch" forName="wedge2" refType="w" fact="0.08"/>
          <dgm:constr type="w" for="ch" forName="wedge2" refType="w" fact="0.84"/>
          <dgm:constr type="h" for="ch" forName="wedge2" refType="h" fact="0.84"/>
          <dgm:constr type="l" for="ch" forName="wedge2Tx" refType="w" fact="0.2"/>
          <dgm:constr type="t" for="ch" forName="wedge2Tx" refType="h" fact="0.205"/>
          <dgm:constr type="w" for="ch" forName="wedge2Tx" refType="w" fact="0.295"/>
          <dgm:constr type="h" for="ch" forName="wedge2Tx" refType="h" fact="0.59"/>
          <dgm:constr type="primFontSz" for="ch" ptType="node" op="equ"/>
        </dgm:constrLst>
      </dgm:if>
      <dgm:if name="Name3" axis="ch" ptType="node" func="cnt" op="equ" val="3">
        <dgm:choose name="Name4">
          <dgm:if name="Name5" func="var" arg="dir" op="equ" val="norm">
            <dgm:constrLst>
              <dgm:constr type="l" for="ch" forName="wedge1" refType="w" fact="0.1233"/>
              <dgm:constr type="t" for="ch" forName="wedge1" refType="w" fact="0.055"/>
              <dgm:constr type="w" for="ch" forName="wedge1" refType="w" fact="0.84"/>
              <dgm:constr type="h" for="ch" forName="wedge1" refType="h" fact="0.84"/>
              <dgm:constr type="l" for="ch" forName="wedge1Tx" refType="w" fact="0.58"/>
              <dgm:constr type="t" for="ch" forName="wedge1Tx" refType="h" fact="0.21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"/>
              <dgm:constr type="t" for="ch" forName="wedge3Tx" refType="h" fact="0.245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if>
          <dgm:else name="Name6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45"/>
              <dgm:constr type="w" for="ch" forName="wedge1Tx" refType="w" fact="0.285"/>
              <dgm:constr type="h" for="ch" forName="wedge1Tx" refType="h" fact="0.2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31"/>
              <dgm:constr type="t" for="ch" forName="wedge2Tx" refType="h" fact="0.61"/>
              <dgm:constr type="w" for="ch" forName="wedge2Tx" refType="w" fact="0.38"/>
              <dgm:constr type="h" for="ch" forName="wedge2Tx" refType="h" fact="0.26"/>
              <dgm:constr type="l" for="ch" forName="wedge3" refType="w" fact="0.0367"/>
              <dgm:constr type="t" for="ch" forName="wedge3" refType="w" fact="0.055"/>
              <dgm:constr type="w" for="ch" forName="wedge3" refType="w" fact="0.84"/>
              <dgm:constr type="h" for="ch" forName="wedge3" refType="h" fact="0.84"/>
              <dgm:constr type="l" for="ch" forName="wedge3Tx" refType="w" fact="0.14"/>
              <dgm:constr type="t" for="ch" forName="wedge3Tx" refType="h" fact="0.21"/>
              <dgm:constr type="w" for="ch" forName="wedge3Tx" refType="w" fact="0.285"/>
              <dgm:constr type="h" for="ch" forName="wedge3Tx" refType="h" fact="0.28"/>
              <dgm:constr type="primFontSz" for="ch" ptType="node" op="equ"/>
            </dgm:constrLst>
          </dgm:else>
        </dgm:choose>
      </dgm:if>
      <dgm:if name="Name7" axis="ch" ptType="node" func="cnt" op="equ" val="4">
        <dgm:choose name="Name8">
          <dgm:if name="Name9" func="var" arg="dir" op="equ" val="norm">
            <dgm:constrLst>
              <dgm:constr type="l" for="ch" forName="wedge1" refType="w" fact="0.1154"/>
              <dgm:constr type="t" for="ch" forName="wedge1" refType="w" fact="0.0446"/>
              <dgm:constr type="w" for="ch" forName="wedge1" refType="w" fact="0.84"/>
              <dgm:constr type="h" for="ch" forName="wedge1" refType="h" fact="0.84"/>
              <dgm:constr type="l" for="ch" forName="wedge1Tx" refType="w" fact="0.545"/>
              <dgm:constr type="t" for="ch" forName="wedge1Tx" refType="h" fact="0.2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75"/>
              <dgm:constr type="t" for="ch" forName="wedge4Tx" refType="h" fact="0.235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if>
          <dgm:else name="Name10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5"/>
              <dgm:constr type="t" for="ch" forName="wedge1Tx" refType="h" fact="0.235"/>
              <dgm:constr type="w" for="ch" forName="wedge1Tx" refType="w" fact="0.31"/>
              <dgm:constr type="h" for="ch" forName="wedge1Tx" refType="h" fact="0.2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515"/>
              <dgm:constr type="t" for="ch" forName="wedge2Tx" refType="h" fact="0.515"/>
              <dgm:constr type="w" for="ch" forName="wedge2Tx" refType="w" fact="0.31"/>
              <dgm:constr type="h" for="ch" forName="wedge2Tx" refType="h" fact="0.2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175"/>
              <dgm:constr type="t" for="ch" forName="wedge3Tx" refType="h" fact="0.515"/>
              <dgm:constr type="w" for="ch" forName="wedge3Tx" refType="w" fact="0.31"/>
              <dgm:constr type="h" for="ch" forName="wedge3Tx" refType="h" fact="0.25"/>
              <dgm:constr type="l" for="ch" forName="wedge4" refType="w" fact="0.0446"/>
              <dgm:constr type="t" for="ch" forName="wedge4" refType="h" fact="0.0446"/>
              <dgm:constr type="w" for="ch" forName="wedge4" refType="w" fact="0.84"/>
              <dgm:constr type="h" for="ch" forName="wedge4" refType="h" fact="0.84"/>
              <dgm:constr type="l" for="ch" forName="wedge4Tx" refType="w" fact="0.145"/>
              <dgm:constr type="t" for="ch" forName="wedge4Tx" refType="h" fact="0.2"/>
              <dgm:constr type="w" for="ch" forName="wedge4Tx" refType="w" fact="0.31"/>
              <dgm:constr type="h" for="ch" forName="wedge4Tx" refType="h" fact="0.25"/>
              <dgm:constr type="primFontSz" for="ch" ptType="node" op="equ"/>
            </dgm:constrLst>
          </dgm:else>
        </dgm:choose>
      </dgm:if>
      <dgm:if name="Name11" axis="ch" ptType="node" func="cnt" op="equ" val="5">
        <dgm:choose name="Name12">
          <dgm:if name="Name13" func="var" arg="dir" op="equ" val="norm">
            <dgm:constrLst>
              <dgm:constr type="l" for="ch" forName="wedge1" refType="w" fact="0.1094"/>
              <dgm:constr type="t" for="ch" forName="wedge1" refType="w" fact="0.0395"/>
              <dgm:constr type="w" for="ch" forName="wedge1" refType="w" fact="0.84"/>
              <dgm:constr type="h" for="ch" forName="wedge1" refType="h" fact="0.84"/>
              <dgm:constr type="l" for="ch" forName="wedge1Tx" refType="w" fact="0.54"/>
              <dgm:constr type="t" for="ch" forName="wedge1Tx" refType="h" fact="0.165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2025"/>
              <dgm:constr type="t" for="ch" forName="wedge5Tx" refType="h" fact="0.208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if>
          <dgm:else name="Name14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1"/>
              <dgm:constr type="t" for="ch" forName="wedge1Tx" refType="h" fact="0.208"/>
              <dgm:constr type="w" for="ch" forName="wedge1Tx" refType="w" fact="0.285"/>
              <dgm:constr type="h" for="ch" forName="wedge1Tx" refType="h" fact="0.19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29"/>
              <dgm:constr type="t" for="ch" forName="wedge2Tx" refType="h" fact="0.46"/>
              <dgm:constr type="w" for="ch" forName="wedge2Tx" refType="w" fact="0.25"/>
              <dgm:constr type="h" for="ch" forName="wedge2Tx" refType="h" fact="0.211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35"/>
              <dgm:constr type="t" for="ch" forName="wedge3Tx" refType="h" fact="0.71"/>
              <dgm:constr type="w" for="ch" forName="wedge3Tx" refType="w" fact="0.3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12"/>
              <dgm:constr type="t" for="ch" forName="wedge4Tx" refType="h" fact="0.46"/>
              <dgm:constr type="w" for="ch" forName="wedge4Tx" refType="w" fact="0.25"/>
              <dgm:constr type="h" for="ch" forName="wedge4Tx" refType="h" fact="0.211"/>
              <dgm:constr type="l" for="ch" forName="wedge5" refType="w" fact="0.0506"/>
              <dgm:constr type="t" for="ch" forName="wedge5" refType="h" fact="0.0395"/>
              <dgm:constr type="w" for="ch" forName="wedge5" refType="w" fact="0.84"/>
              <dgm:constr type="h" for="ch" forName="wedge5" refType="h" fact="0.84"/>
              <dgm:constr type="l" for="ch" forName="wedge5Tx" refType="w" fact="0.18"/>
              <dgm:constr type="t" for="ch" forName="wedge5Tx" refType="h" fact="0.165"/>
              <dgm:constr type="w" for="ch" forName="wedge5Tx" refType="w" fact="0.285"/>
              <dgm:constr type="h" for="ch" forName="wedge5Tx" refType="h" fact="0.195"/>
              <dgm:constr type="primFontSz" for="ch" ptType="node" op="equ"/>
            </dgm:constrLst>
          </dgm:else>
        </dgm:choose>
      </dgm:if>
      <dgm:if name="Name15" axis="ch" ptType="node" func="cnt" op="equ" val="6">
        <dgm:choose name="Name16">
          <dgm:if name="Name17" func="var" arg="dir" op="equ" val="norm">
            <dgm:constrLst>
              <dgm:constr type="l" for="ch" forName="wedge1" refType="w" fact="0.105"/>
              <dgm:constr type="t" for="ch" forName="wedge1" refType="w" fact="0.0367"/>
              <dgm:constr type="w" for="ch" forName="wedge1" refType="w" fact="0.84"/>
              <dgm:constr type="h" for="ch" forName="wedge1" refType="h" fact="0.84"/>
              <dgm:constr type="l" for="ch" forName="wedge1Tx" refType="w" fact="0.534"/>
              <dgm:constr type="t" for="ch" forName="wedge1Tx" refType="h" fact="0.126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246"/>
              <dgm:constr type="t" for="ch" forName="wedge6Tx" refType="h" fact="0.1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if>
          <dgm:else name="Name18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9"/>
              <dgm:constr type="t" for="ch" forName="wedge1Tx" refType="h" fact="0.17"/>
              <dgm:constr type="w" for="ch" forName="wedge1Tx" refType="w" fact="0.245"/>
              <dgm:constr type="h" for="ch" forName="wedge1Tx" refType="h" fact="0.18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415"/>
              <dgm:constr type="w" for="ch" forName="wedge2Tx" refType="w" fact="0.254"/>
              <dgm:constr type="h" for="ch" forName="wedge2Tx" refType="h" fact="0.17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509"/>
              <dgm:constr type="t" for="ch" forName="wedge3Tx" refType="h" fact="0.65"/>
              <dgm:constr type="w" for="ch" forName="wedge3Tx" refType="w" fact="0.245"/>
              <dgm:constr type="h" for="ch" forName="wedge3Tx" refType="h" fact="0.18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246"/>
              <dgm:constr type="t" for="ch" forName="wedge4Tx" refType="h" fact="0.65"/>
              <dgm:constr type="w" for="ch" forName="wedge4Tx" refType="w" fact="0.245"/>
              <dgm:constr type="h" for="ch" forName="wedge4Tx" refType="h" fact="0.18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093"/>
              <dgm:constr type="t" for="ch" forName="wedge5Tx" refType="h" fact="0.415"/>
              <dgm:constr type="w" for="ch" forName="wedge5Tx" refType="w" fact="0.254"/>
              <dgm:constr type="h" for="ch" forName="wedge5Tx" refType="h" fact="0.17"/>
              <dgm:constr type="l" for="ch" forName="wedge6" refType="w" fact="0.055"/>
              <dgm:constr type="t" for="ch" forName="wedge6" refType="h" fact="0.0367"/>
              <dgm:constr type="w" for="ch" forName="wedge6" refType="w" fact="0.84"/>
              <dgm:constr type="h" for="ch" forName="wedge6" refType="h" fact="0.84"/>
              <dgm:constr type="l" for="ch" forName="wedge6Tx" refType="w" fact="0.221"/>
              <dgm:constr type="t" for="ch" forName="wedge6Tx" refType="h" fact="0.1267"/>
              <dgm:constr type="w" for="ch" forName="wedge6Tx" refType="w" fact="0.245"/>
              <dgm:constr type="h" for="ch" forName="wedge6Tx" refType="h" fact="0.18"/>
              <dgm:constr type="primFontSz" for="ch" ptType="node" op="equ"/>
            </dgm:constrLst>
          </dgm:else>
        </dgm:choose>
      </dgm:if>
      <dgm:else name="Name19">
        <dgm:choose name="Name20">
          <dgm:if name="Name21" func="var" arg="dir" op="equ" val="norm">
            <dgm:constrLst>
              <dgm:constr type="l" for="ch" forName="wedge1" refType="w" fact="0.1017"/>
              <dgm:constr type="t" for="ch" forName="wedge1" refType="w" fact="0.035"/>
              <dgm:constr type="w" for="ch" forName="wedge1" refType="w" fact="0.84"/>
              <dgm:constr type="h" for="ch" forName="wedge1" refType="h" fact="0.84"/>
              <dgm:constr type="l" for="ch" forName="wedge1Tx" refType="w" fact="0.53"/>
              <dgm:constr type="t" for="ch" forName="wedge1Tx" refType="h" fact="0.115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8"/>
              <dgm:constr type="t" for="ch" forName="wedge7" refType="h" fact="0.08"/>
              <dgm:constr type="w" for="ch" forName="wedge7" refType="w" fact="0.84"/>
              <dgm:constr type="h" for="ch" forName="wedge7" refType="h" fact="0.84"/>
              <dgm:constr type="l" for="ch" forName="wedge7Tx" refType="w" fact="0.262"/>
              <dgm:constr type="t" for="ch" forName="wedge7Tx" refType="h" fact="0.16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if>
          <dgm:else name="Name22">
            <dgm:constrLst>
              <dgm:constr type="l" for="ch" forName="wedge1" refType="w" fact="0.08"/>
              <dgm:constr type="t" for="ch" forName="wedge1" refType="w" fact="0.08"/>
              <dgm:constr type="w" for="ch" forName="wedge1" refType="w" fact="0.84"/>
              <dgm:constr type="h" for="ch" forName="wedge1" refType="h" fact="0.84"/>
              <dgm:constr type="l" for="ch" forName="wedge1Tx" refType="w" fact="0.508"/>
              <dgm:constr type="t" for="ch" forName="wedge1Tx" refType="h" fact="0.16"/>
              <dgm:constr type="w" for="ch" forName="wedge1Tx" refType="w" fact="0.23"/>
              <dgm:constr type="h" for="ch" forName="wedge1Tx" refType="h" fact="0.145"/>
              <dgm:constr type="l" for="ch" forName="wedge2" refType="w" fact="0.08"/>
              <dgm:constr type="t" for="ch" forName="wedge2" refType="w" fact="0.08"/>
              <dgm:constr type="w" for="ch" forName="wedge2" refType="w" fact="0.84"/>
              <dgm:constr type="h" for="ch" forName="wedge2" refType="h" fact="0.84"/>
              <dgm:constr type="l" for="ch" forName="wedge2Tx" refType="w" fact="0.655"/>
              <dgm:constr type="t" for="ch" forName="wedge2Tx" refType="h" fact="0.38"/>
              <dgm:constr type="w" for="ch" forName="wedge2Tx" refType="w" fact="0.244"/>
              <dgm:constr type="h" for="ch" forName="wedge2Tx" refType="h" fact="0.155"/>
              <dgm:constr type="l" for="ch" forName="wedge3" refType="w" fact="0.08"/>
              <dgm:constr type="t" for="ch" forName="wedge3" refType="w" fact="0.08"/>
              <dgm:constr type="w" for="ch" forName="wedge3" refType="w" fact="0.84"/>
              <dgm:constr type="h" for="ch" forName="wedge3" refType="h" fact="0.84"/>
              <dgm:constr type="l" for="ch" forName="wedge3Tx" refType="w" fact="0.62"/>
              <dgm:constr type="t" for="ch" forName="wedge3Tx" refType="h" fact="0.58"/>
              <dgm:constr type="w" for="ch" forName="wedge3Tx" refType="w" fact="0.22"/>
              <dgm:constr type="h" for="ch" forName="wedge3Tx" refType="h" fact="0.16"/>
              <dgm:constr type="l" for="ch" forName="wedge4" refType="w" fact="0.08"/>
              <dgm:constr type="t" for="ch" forName="wedge4" refType="h" fact="0.08"/>
              <dgm:constr type="w" for="ch" forName="wedge4" refType="w" fact="0.84"/>
              <dgm:constr type="h" for="ch" forName="wedge4" refType="h" fact="0.84"/>
              <dgm:constr type="l" for="ch" forName="wedge4Tx" refType="w" fact="0.3875"/>
              <dgm:constr type="t" for="ch" forName="wedge4Tx" refType="h" fact="0.74"/>
              <dgm:constr type="w" for="ch" forName="wedge4Tx" refType="w" fact="0.225"/>
              <dgm:constr type="h" for="ch" forName="wedge4Tx" refType="h" fact="0.16"/>
              <dgm:constr type="l" for="ch" forName="wedge5" refType="w" fact="0.08"/>
              <dgm:constr type="t" for="ch" forName="wedge5" refType="h" fact="0.08"/>
              <dgm:constr type="w" for="ch" forName="wedge5" refType="w" fact="0.84"/>
              <dgm:constr type="h" for="ch" forName="wedge5" refType="h" fact="0.84"/>
              <dgm:constr type="l" for="ch" forName="wedge5Tx" refType="w" fact="0.16"/>
              <dgm:constr type="t" for="ch" forName="wedge5Tx" refType="h" fact="0.58"/>
              <dgm:constr type="w" for="ch" forName="wedge5Tx" refType="w" fact="0.22"/>
              <dgm:constr type="h" for="ch" forName="wedge5Tx" refType="h" fact="0.16"/>
              <dgm:constr type="l" for="ch" forName="wedge6" refType="w" fact="0.08"/>
              <dgm:constr type="t" for="ch" forName="wedge6" refType="h" fact="0.08"/>
              <dgm:constr type="w" for="ch" forName="wedge6" refType="w" fact="0.84"/>
              <dgm:constr type="h" for="ch" forName="wedge6" refType="h" fact="0.84"/>
              <dgm:constr type="l" for="ch" forName="wedge6Tx" refType="w" fact="0.101"/>
              <dgm:constr type="t" for="ch" forName="wedge6Tx" refType="h" fact="0.38"/>
              <dgm:constr type="w" for="ch" forName="wedge6Tx" refType="w" fact="0.244"/>
              <dgm:constr type="h" for="ch" forName="wedge6Tx" refType="h" fact="0.155"/>
              <dgm:constr type="l" for="ch" forName="wedge7" refType="w" fact="0.0583"/>
              <dgm:constr type="t" for="ch" forName="wedge7" refType="h" fact="0.035"/>
              <dgm:constr type="w" for="ch" forName="wedge7" refType="w" fact="0.84"/>
              <dgm:constr type="h" for="ch" forName="wedge7" refType="h" fact="0.84"/>
              <dgm:constr type="l" for="ch" forName="wedge7Tx" refType="w" fact="0.2403"/>
              <dgm:constr type="t" for="ch" forName="wedge7Tx" refType="h" fact="0.115"/>
              <dgm:constr type="w" for="ch" forName="wedge7Tx" refType="w" fact="0.23"/>
              <dgm:constr type="h" for="ch" forName="wedge7Tx" refType="h" fact="0.145"/>
              <dgm:constr type="primFontSz" for="ch" ptType="node" op="equ"/>
            </dgm:constrLst>
          </dgm:else>
        </dgm:choose>
      </dgm:else>
    </dgm:choose>
    <dgm:ruleLst/>
    <dgm:choose name="Name23">
      <dgm:if name="Name24" axis="ch" ptType="node" func="cnt" op="gte" val="1">
        <dgm:layoutNode name="wedge1">
          <dgm:alg type="sp"/>
          <dgm:choose name="Name25">
            <dgm:if name="Name26" axis="ch" ptType="node" func="cnt" op="equ" val="1">
              <dgm:shape xmlns:r="http://schemas.openxmlformats.org/officeDocument/2006/relationships" type="ellipse" r:blip="">
                <dgm:adjLst/>
              </dgm:shape>
            </dgm:if>
            <dgm:if name="Name27" axis="ch" ptType="node" func="cnt" op="equ" val="2">
              <dgm:shape xmlns:r="http://schemas.openxmlformats.org/officeDocument/2006/relationships" type="pie" r:blip="">
                <dgm:adjLst>
                  <dgm:adj idx="1" val="270"/>
                  <dgm:adj idx="2" val="90"/>
                </dgm:adjLst>
              </dgm:shape>
            </dgm:if>
            <dgm:if name="Name28" axis="ch" ptType="node" func="cnt" op="equ" val="3">
              <dgm:shape xmlns:r="http://schemas.openxmlformats.org/officeDocument/2006/relationships" type="pie" r:blip="">
                <dgm:adjLst>
                  <dgm:adj idx="1" val="270"/>
                  <dgm:adj idx="2" val="30"/>
                </dgm:adjLst>
              </dgm:shape>
            </dgm:if>
            <dgm:if name="Name29" axis="ch" ptType="node" func="cnt" op="equ" val="4">
              <dgm:shape xmlns:r="http://schemas.openxmlformats.org/officeDocument/2006/relationships" type="pie" r:blip="">
                <dgm:adjLst>
                  <dgm:adj idx="1" val="270"/>
                  <dgm:adj idx="2" val="0"/>
                </dgm:adjLst>
              </dgm:shape>
            </dgm:if>
            <dgm:if name="Name30" axis="ch" ptType="node" func="cnt" op="equ" val="5">
              <dgm:shape xmlns:r="http://schemas.openxmlformats.org/officeDocument/2006/relationships" type="pie" r:blip="">
                <dgm:adjLst>
                  <dgm:adj idx="1" val="270"/>
                  <dgm:adj idx="2" val="342"/>
                </dgm:adjLst>
              </dgm:shape>
            </dgm:if>
            <dgm:if name="Name31" axis="ch" ptType="node" func="cnt" op="equ" val="6">
              <dgm:shape xmlns:r="http://schemas.openxmlformats.org/officeDocument/2006/relationships" type="pie" r:blip="">
                <dgm:adjLst>
                  <dgm:adj idx="1" val="270"/>
                  <dgm:adj idx="2" val="330"/>
                </dgm:adjLst>
              </dgm:shape>
            </dgm:if>
            <dgm:else name="Name32">
              <dgm:shape xmlns:r="http://schemas.openxmlformats.org/officeDocument/2006/relationships" type="pie" r:blip="">
                <dgm:adjLst>
                  <dgm:adj idx="1" val="270"/>
                  <dgm:adj idx="2" val="321.4286"/>
                </dgm:adjLst>
              </dgm:shape>
            </dgm:else>
          </dgm:choose>
          <dgm:choose name="Name33">
            <dgm:if name="Name34" func="var" arg="dir" op="equ" val="norm">
              <dgm:presOf axis="ch desOrSelf" ptType="node node" st="1 1" cnt="1 0"/>
            </dgm:if>
            <dgm:else name="Name35">
              <dgm:choose name="Name36">
                <dgm:if name="Name37" axis="ch" ptType="node" func="cnt" op="equ" val="1">
                  <dgm:presOf axis="ch desOrSelf" ptType="node node" st="1 1" cnt="1 0"/>
                </dgm:if>
                <dgm:if name="Name38" axis="ch" ptType="node" func="cnt" op="equ" val="2">
                  <dgm:presOf axis="ch desOrSelf" ptType="node node" st="2 1" cnt="1 0"/>
                </dgm:if>
                <dgm:if name="Name39" axis="ch" ptType="node" func="cnt" op="equ" val="3">
                  <dgm:presOf axis="ch desOrSelf" ptType="node node" st="3 1" cnt="1 0"/>
                </dgm:if>
                <dgm:if name="Name40" axis="ch" ptType="node" func="cnt" op="equ" val="4">
                  <dgm:presOf axis="ch desOrSelf" ptType="node node" st="4 1" cnt="1 0"/>
                </dgm:if>
                <dgm:if name="Name41" axis="ch" ptType="node" func="cnt" op="equ" val="5">
                  <dgm:presOf axis="ch desOrSelf" ptType="node node" st="5 1" cnt="1 0"/>
                </dgm:if>
                <dgm:if name="Name42" axis="ch" ptType="node" func="cnt" op="equ" val="6">
                  <dgm:presOf axis="ch desOrSelf" ptType="node node" st="6 1" cnt="1 0"/>
                </dgm:if>
                <dgm:else name="Name43">
                  <dgm:presOf axis="ch desOrSelf" ptType="node node" st="7 1" cnt="1 0"/>
                </dgm:else>
              </dgm:choose>
            </dgm:else>
          </dgm:choose>
          <dgm:constrLst/>
          <dgm:ruleLst/>
        </dgm:layoutNode>
        <dgm:layoutNode name="wedge1Tx" moveWith="wedg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44">
            <dgm:if name="Name45" func="var" arg="dir" op="equ" val="norm">
              <dgm:presOf axis="ch desOrSelf" ptType="node node" st="1 1" cnt="1 0"/>
            </dgm:if>
            <dgm:else name="Name46">
              <dgm:choose name="Name47">
                <dgm:if name="Name48" axis="ch" ptType="node" func="cnt" op="equ" val="1">
                  <dgm:presOf axis="ch desOrSelf" ptType="node node" st="1 1" cnt="1 0"/>
                </dgm:if>
                <dgm:if name="Name49" axis="ch" ptType="node" func="cnt" op="equ" val="2">
                  <dgm:presOf axis="ch desOrSelf" ptType="node node" st="2 1" cnt="1 0"/>
                </dgm:if>
                <dgm:if name="Name50" axis="ch" ptType="node" func="cnt" op="equ" val="3">
                  <dgm:presOf axis="ch desOrSelf" ptType="node node" st="3 1" cnt="1 0"/>
                </dgm:if>
                <dgm:if name="Name51" axis="ch" ptType="node" func="cnt" op="equ" val="4">
                  <dgm:presOf axis="ch desOrSelf" ptType="node node" st="4 1" cnt="1 0"/>
                </dgm:if>
                <dgm:if name="Name52" axis="ch" ptType="node" func="cnt" op="equ" val="5">
                  <dgm:presOf axis="ch desOrSelf" ptType="node node" st="5 1" cnt="1 0"/>
                </dgm:if>
                <dgm:if name="Name53" axis="ch" ptType="node" func="cnt" op="equ" val="6">
                  <dgm:presOf axis="ch desOrSelf" ptType="node node" st="6 1" cnt="1 0"/>
                </dgm:if>
                <dgm:else name="Name54">
                  <dgm:presOf axis="ch desOrSelf" ptType="node node" st="7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55"/>
    </dgm:choose>
    <dgm:choose name="Name56">
      <dgm:if name="Name57" axis="ch" ptType="node" func="cnt" op="gte" val="2">
        <dgm:layoutNode name="wedge2">
          <dgm:alg type="sp"/>
          <dgm:choose name="Name58">
            <dgm:if name="Name59" axis="ch" ptType="node" func="cnt" op="equ" val="2">
              <dgm:shape xmlns:r="http://schemas.openxmlformats.org/officeDocument/2006/relationships" type="pie" r:blip="">
                <dgm:adjLst>
                  <dgm:adj idx="1" val="90"/>
                  <dgm:adj idx="2" val="270"/>
                </dgm:adjLst>
              </dgm:shape>
            </dgm:if>
            <dgm:if name="Name60" axis="ch" ptType="node" func="cnt" op="equ" val="3">
              <dgm:shape xmlns:r="http://schemas.openxmlformats.org/officeDocument/2006/relationships" type="pie" r:blip="">
                <dgm:adjLst>
                  <dgm:adj idx="1" val="30"/>
                  <dgm:adj idx="2" val="150"/>
                </dgm:adjLst>
              </dgm:shape>
            </dgm:if>
            <dgm:if name="Name61" axis="ch" ptType="node" func="cnt" op="equ" val="4">
              <dgm:shape xmlns:r="http://schemas.openxmlformats.org/officeDocument/2006/relationships" type="pie" r:blip="">
                <dgm:adjLst>
                  <dgm:adj idx="1" val="0"/>
                  <dgm:adj idx="2" val="90"/>
                </dgm:adjLst>
              </dgm:shape>
            </dgm:if>
            <dgm:if name="Name62" axis="ch" ptType="node" func="cnt" op="equ" val="5">
              <dgm:shape xmlns:r="http://schemas.openxmlformats.org/officeDocument/2006/relationships" type="pie" r:blip="">
                <dgm:adjLst>
                  <dgm:adj idx="1" val="342"/>
                  <dgm:adj idx="2" val="54"/>
                </dgm:adjLst>
              </dgm:shape>
            </dgm:if>
            <dgm:if name="Name63" axis="ch" ptType="node" func="cnt" op="equ" val="6">
              <dgm:shape xmlns:r="http://schemas.openxmlformats.org/officeDocument/2006/relationships" type="pie" r:blip="">
                <dgm:adjLst>
                  <dgm:adj idx="1" val="330"/>
                  <dgm:adj idx="2" val="30"/>
                </dgm:adjLst>
              </dgm:shape>
            </dgm:if>
            <dgm:else name="Name64">
              <dgm:shape xmlns:r="http://schemas.openxmlformats.org/officeDocument/2006/relationships" type="pie" r:blip="">
                <dgm:adjLst>
                  <dgm:adj idx="1" val="321.4286"/>
                  <dgm:adj idx="2" val="12.85714"/>
                </dgm:adjLst>
              </dgm:shape>
            </dgm:else>
          </dgm:choose>
          <dgm:choose name="Name65">
            <dgm:if name="Name66" func="var" arg="dir" op="equ" val="norm">
              <dgm:presOf axis="ch desOrSelf" ptType="node node" st="2 1" cnt="1 0"/>
            </dgm:if>
            <dgm:else name="Name67">
              <dgm:choose name="Name68">
                <dgm:if name="Name69" axis="ch" ptType="node" func="cnt" op="equ" val="2">
                  <dgm:presOf axis="ch desOrSelf" ptType="node node" st="1 1" cnt="1 0"/>
                </dgm:if>
                <dgm:if name="Name70" axis="ch" ptType="node" func="cnt" op="equ" val="3">
                  <dgm:presOf axis="ch desOrSelf" ptType="node node" st="2 1" cnt="1 0"/>
                </dgm:if>
                <dgm:if name="Name71" axis="ch" ptType="node" func="cnt" op="equ" val="4">
                  <dgm:presOf axis="ch desOrSelf" ptType="node node" st="3 1" cnt="1 0"/>
                </dgm:if>
                <dgm:if name="Name72" axis="ch" ptType="node" func="cnt" op="equ" val="5">
                  <dgm:presOf axis="ch desOrSelf" ptType="node node" st="4 1" cnt="1 0"/>
                </dgm:if>
                <dgm:if name="Name73" axis="ch" ptType="node" func="cnt" op="equ" val="6">
                  <dgm:presOf axis="ch desOrSelf" ptType="node node" st="5 1" cnt="1 0"/>
                </dgm:if>
                <dgm:else name="Name74">
                  <dgm:presOf axis="ch desOrSelf" ptType="node node" st="6 1" cnt="1 0"/>
                </dgm:else>
              </dgm:choose>
            </dgm:else>
          </dgm:choose>
          <dgm:constrLst/>
          <dgm:ruleLst/>
        </dgm:layoutNode>
        <dgm:layoutNode name="wedge2Tx" moveWith="wedge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75">
            <dgm:if name="Name76" func="var" arg="dir" op="equ" val="norm">
              <dgm:presOf axis="ch desOrSelf" ptType="node node" st="2 1" cnt="1 0"/>
            </dgm:if>
            <dgm:else name="Name77">
              <dgm:choose name="Name78">
                <dgm:if name="Name79" axis="ch" ptType="node" func="cnt" op="equ" val="2">
                  <dgm:presOf axis="ch desOrSelf" ptType="node node" st="1 1" cnt="1 0"/>
                </dgm:if>
                <dgm:if name="Name80" axis="ch" ptType="node" func="cnt" op="equ" val="3">
                  <dgm:presOf axis="ch desOrSelf" ptType="node node" st="2 1" cnt="1 0"/>
                </dgm:if>
                <dgm:if name="Name81" axis="ch" ptType="node" func="cnt" op="equ" val="4">
                  <dgm:presOf axis="ch desOrSelf" ptType="node node" st="3 1" cnt="1 0"/>
                </dgm:if>
                <dgm:if name="Name82" axis="ch" ptType="node" func="cnt" op="equ" val="5">
                  <dgm:presOf axis="ch desOrSelf" ptType="node node" st="4 1" cnt="1 0"/>
                </dgm:if>
                <dgm:if name="Name83" axis="ch" ptType="node" func="cnt" op="equ" val="6">
                  <dgm:presOf axis="ch desOrSelf" ptType="node node" st="5 1" cnt="1 0"/>
                </dgm:if>
                <dgm:else name="Name84">
                  <dgm:presOf axis="ch desOrSelf" ptType="node node" st="6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85"/>
    </dgm:choose>
    <dgm:choose name="Name86">
      <dgm:if name="Name87" axis="ch" ptType="node" func="cnt" op="gte" val="3">
        <dgm:layoutNode name="wedge3">
          <dgm:alg type="sp"/>
          <dgm:choose name="Name88">
            <dgm:if name="Name89" axis="ch" ptType="node" func="cnt" op="equ" val="3">
              <dgm:shape xmlns:r="http://schemas.openxmlformats.org/officeDocument/2006/relationships" type="pie" r:blip="">
                <dgm:adjLst>
                  <dgm:adj idx="1" val="150"/>
                  <dgm:adj idx="2" val="270"/>
                </dgm:adjLst>
              </dgm:shape>
            </dgm:if>
            <dgm:if name="Name90" axis="ch" ptType="node" func="cnt" op="equ" val="4">
              <dgm:shape xmlns:r="http://schemas.openxmlformats.org/officeDocument/2006/relationships" type="pie" r:blip="">
                <dgm:adjLst>
                  <dgm:adj idx="1" val="90"/>
                  <dgm:adj idx="2" val="180"/>
                </dgm:adjLst>
              </dgm:shape>
            </dgm:if>
            <dgm:if name="Name91" axis="ch" ptType="node" func="cnt" op="equ" val="5">
              <dgm:shape xmlns:r="http://schemas.openxmlformats.org/officeDocument/2006/relationships" type="pie" r:blip="">
                <dgm:adjLst>
                  <dgm:adj idx="1" val="54"/>
                  <dgm:adj idx="2" val="126"/>
                </dgm:adjLst>
              </dgm:shape>
            </dgm:if>
            <dgm:if name="Name92" axis="ch" ptType="node" func="cnt" op="equ" val="6">
              <dgm:shape xmlns:r="http://schemas.openxmlformats.org/officeDocument/2006/relationships" type="pie" r:blip="">
                <dgm:adjLst>
                  <dgm:adj idx="1" val="30"/>
                  <dgm:adj idx="2" val="90"/>
                </dgm:adjLst>
              </dgm:shape>
            </dgm:if>
            <dgm:else name="Name93">
              <dgm:shape xmlns:r="http://schemas.openxmlformats.org/officeDocument/2006/relationships" type="pie" r:blip="">
                <dgm:adjLst>
                  <dgm:adj idx="1" val="12.85714"/>
                  <dgm:adj idx="2" val="64.28571"/>
                </dgm:adjLst>
              </dgm:shape>
            </dgm:else>
          </dgm:choose>
          <dgm:choose name="Name94">
            <dgm:if name="Name95" func="var" arg="dir" op="equ" val="norm">
              <dgm:presOf axis="ch desOrSelf" ptType="node node" st="3 1" cnt="1 0"/>
            </dgm:if>
            <dgm:else name="Name96">
              <dgm:choose name="Name97">
                <dgm:if name="Name98" axis="ch" ptType="node" func="cnt" op="equ" val="3">
                  <dgm:presOf axis="ch desOrSelf" ptType="node node" st="1 1" cnt="1 0"/>
                </dgm:if>
                <dgm:if name="Name99" axis="ch" ptType="node" func="cnt" op="equ" val="4">
                  <dgm:presOf axis="ch desOrSelf" ptType="node node" st="2 1" cnt="1 0"/>
                </dgm:if>
                <dgm:if name="Name100" axis="ch" ptType="node" func="cnt" op="equ" val="5">
                  <dgm:presOf axis="ch desOrSelf" ptType="node node" st="3 1" cnt="1 0"/>
                </dgm:if>
                <dgm:if name="Name101" axis="ch" ptType="node" func="cnt" op="equ" val="6">
                  <dgm:presOf axis="ch desOrSelf" ptType="node node" st="4 1" cnt="1 0"/>
                </dgm:if>
                <dgm:else name="Name102">
                  <dgm:presOf axis="ch desOrSelf" ptType="node node" st="5 1" cnt="1 0"/>
                </dgm:else>
              </dgm:choose>
            </dgm:else>
          </dgm:choose>
          <dgm:constrLst/>
          <dgm:ruleLst/>
        </dgm:layoutNode>
        <dgm:layoutNode name="wedge3Tx" moveWith="wedge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03">
            <dgm:if name="Name104" func="var" arg="dir" op="equ" val="norm">
              <dgm:presOf axis="ch desOrSelf" ptType="node node" st="3 1" cnt="1 0"/>
            </dgm:if>
            <dgm:else name="Name105">
              <dgm:choose name="Name106">
                <dgm:if name="Name107" axis="ch" ptType="node" func="cnt" op="equ" val="3">
                  <dgm:presOf axis="ch desOrSelf" ptType="node node" st="1 1" cnt="1 0"/>
                </dgm:if>
                <dgm:if name="Name108" axis="ch" ptType="node" func="cnt" op="equ" val="4">
                  <dgm:presOf axis="ch desOrSelf" ptType="node node" st="2 1" cnt="1 0"/>
                </dgm:if>
                <dgm:if name="Name109" axis="ch" ptType="node" func="cnt" op="equ" val="5">
                  <dgm:presOf axis="ch desOrSelf" ptType="node node" st="3 1" cnt="1 0"/>
                </dgm:if>
                <dgm:if name="Name110" axis="ch" ptType="node" func="cnt" op="equ" val="6">
                  <dgm:presOf axis="ch desOrSelf" ptType="node node" st="4 1" cnt="1 0"/>
                </dgm:if>
                <dgm:else name="Name111">
                  <dgm:presOf axis="ch desOrSelf" ptType="node node" st="5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12"/>
    </dgm:choose>
    <dgm:choose name="Name113">
      <dgm:if name="Name114" axis="ch" ptType="node" func="cnt" op="gte" val="4">
        <dgm:layoutNode name="wedge4">
          <dgm:alg type="sp"/>
          <dgm:choose name="Name115">
            <dgm:if name="Name116" axis="ch" ptType="node" func="cnt" op="equ" val="4">
              <dgm:shape xmlns:r="http://schemas.openxmlformats.org/officeDocument/2006/relationships" type="pie" r:blip="">
                <dgm:adjLst>
                  <dgm:adj idx="1" val="180"/>
                  <dgm:adj idx="2" val="270"/>
                </dgm:adjLst>
              </dgm:shape>
            </dgm:if>
            <dgm:if name="Name117" axis="ch" ptType="node" func="cnt" op="equ" val="5">
              <dgm:shape xmlns:r="http://schemas.openxmlformats.org/officeDocument/2006/relationships" type="pie" r:blip="">
                <dgm:adjLst>
                  <dgm:adj idx="1" val="126"/>
                  <dgm:adj idx="2" val="198"/>
                </dgm:adjLst>
              </dgm:shape>
            </dgm:if>
            <dgm:if name="Name118" axis="ch" ptType="node" func="cnt" op="equ" val="6">
              <dgm:shape xmlns:r="http://schemas.openxmlformats.org/officeDocument/2006/relationships" type="pie" r:blip="">
                <dgm:adjLst>
                  <dgm:adj idx="1" val="90"/>
                  <dgm:adj idx="2" val="150"/>
                </dgm:adjLst>
              </dgm:shape>
            </dgm:if>
            <dgm:else name="Name119">
              <dgm:shape xmlns:r="http://schemas.openxmlformats.org/officeDocument/2006/relationships" type="pie" r:blip="">
                <dgm:adjLst>
                  <dgm:adj idx="1" val="64.2871"/>
                  <dgm:adj idx="2" val="115.7143"/>
                </dgm:adjLst>
              </dgm:shape>
            </dgm:else>
          </dgm:choose>
          <dgm:choose name="Name120">
            <dgm:if name="Name121" func="var" arg="dir" op="equ" val="norm">
              <dgm:presOf axis="ch desOrSelf" ptType="node node" st="4 1" cnt="1 0"/>
            </dgm:if>
            <dgm:else name="Name122">
              <dgm:choose name="Name123">
                <dgm:if name="Name124" axis="ch" ptType="node" func="cnt" op="equ" val="4">
                  <dgm:presOf axis="ch desOrSelf" ptType="node node" st="1 1" cnt="1 0"/>
                </dgm:if>
                <dgm:if name="Name125" axis="ch" ptType="node" func="cnt" op="equ" val="5">
                  <dgm:presOf axis="ch desOrSelf" ptType="node node" st="2 1" cnt="1 0"/>
                </dgm:if>
                <dgm:if name="Name126" axis="ch" ptType="node" func="cnt" op="equ" val="6">
                  <dgm:presOf axis="ch desOrSelf" ptType="node node" st="3 1" cnt="1 0"/>
                </dgm:if>
                <dgm:else name="Name127">
                  <dgm:presOf axis="ch desOrSelf" ptType="node node" st="4 1" cnt="1 0"/>
                </dgm:else>
              </dgm:choose>
            </dgm:else>
          </dgm:choose>
          <dgm:constrLst/>
          <dgm:ruleLst/>
        </dgm:layoutNode>
        <dgm:layoutNode name="wedge4Tx" moveWith="wedge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28">
            <dgm:if name="Name129" func="var" arg="dir" op="equ" val="norm">
              <dgm:presOf axis="ch desOrSelf" ptType="node node" st="4 1" cnt="1 0"/>
            </dgm:if>
            <dgm:else name="Name130">
              <dgm:choose name="Name131">
                <dgm:if name="Name132" axis="ch" ptType="node" func="cnt" op="equ" val="4">
                  <dgm:presOf axis="ch desOrSelf" ptType="node node" st="1 1" cnt="1 0"/>
                </dgm:if>
                <dgm:if name="Name133" axis="ch" ptType="node" func="cnt" op="equ" val="5">
                  <dgm:presOf axis="ch desOrSelf" ptType="node node" st="2 1" cnt="1 0"/>
                </dgm:if>
                <dgm:if name="Name134" axis="ch" ptType="node" func="cnt" op="equ" val="6">
                  <dgm:presOf axis="ch desOrSelf" ptType="node node" st="3 1" cnt="1 0"/>
                </dgm:if>
                <dgm:else name="Name135">
                  <dgm:presOf axis="ch desOrSelf" ptType="node node" st="4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36"/>
    </dgm:choose>
    <dgm:choose name="Name137">
      <dgm:if name="Name138" axis="ch" ptType="node" func="cnt" op="gte" val="5">
        <dgm:layoutNode name="wedge5">
          <dgm:alg type="sp"/>
          <dgm:choose name="Name139">
            <dgm:if name="Name140" axis="ch" ptType="node" func="cnt" op="equ" val="5">
              <dgm:shape xmlns:r="http://schemas.openxmlformats.org/officeDocument/2006/relationships" type="pie" r:blip="">
                <dgm:adjLst>
                  <dgm:adj idx="1" val="198"/>
                  <dgm:adj idx="2" val="270"/>
                </dgm:adjLst>
              </dgm:shape>
            </dgm:if>
            <dgm:if name="Name141" axis="ch" ptType="node" func="cnt" op="equ" val="6">
              <dgm:shape xmlns:r="http://schemas.openxmlformats.org/officeDocument/2006/relationships" type="pie" r:blip="">
                <dgm:adjLst>
                  <dgm:adj idx="1" val="150"/>
                  <dgm:adj idx="2" val="210"/>
                </dgm:adjLst>
              </dgm:shape>
            </dgm:if>
            <dgm:else name="Name142">
              <dgm:shape xmlns:r="http://schemas.openxmlformats.org/officeDocument/2006/relationships" type="pie" r:blip="">
                <dgm:adjLst>
                  <dgm:adj idx="1" val="115.7143"/>
                  <dgm:adj idx="2" val="167.1429"/>
                </dgm:adjLst>
              </dgm:shape>
            </dgm:else>
          </dgm:choose>
          <dgm:choose name="Name143">
            <dgm:if name="Name144" func="var" arg="dir" op="equ" val="norm">
              <dgm:presOf axis="ch desOrSelf" ptType="node node" st="5 1" cnt="1 0"/>
            </dgm:if>
            <dgm:else name="Name145">
              <dgm:choose name="Name146">
                <dgm:if name="Name147" axis="ch" ptType="node" func="cnt" op="equ" val="5">
                  <dgm:presOf axis="ch desOrSelf" ptType="node node" st="1 1" cnt="1 0"/>
                </dgm:if>
                <dgm:if name="Name148" axis="ch" ptType="node" func="cnt" op="equ" val="6">
                  <dgm:presOf axis="ch desOrSelf" ptType="node node" st="2 1" cnt="1 0"/>
                </dgm:if>
                <dgm:else name="Name149">
                  <dgm:presOf axis="ch desOrSelf" ptType="node node" st="3 1" cnt="1 0"/>
                </dgm:else>
              </dgm:choose>
            </dgm:else>
          </dgm:choose>
          <dgm:constrLst/>
          <dgm:ruleLst/>
        </dgm:layoutNode>
        <dgm:layoutNode name="wedge5Tx" moveWith="wedge5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50">
            <dgm:if name="Name151" func="var" arg="dir" op="equ" val="norm">
              <dgm:presOf axis="ch desOrSelf" ptType="node node" st="5 1" cnt="1 0"/>
            </dgm:if>
            <dgm:else name="Name152">
              <dgm:choose name="Name153">
                <dgm:if name="Name154" axis="ch" ptType="node" func="cnt" op="equ" val="5">
                  <dgm:presOf axis="ch desOrSelf" ptType="node node" st="1 1" cnt="1 0"/>
                </dgm:if>
                <dgm:if name="Name155" axis="ch" ptType="node" func="cnt" op="equ" val="6">
                  <dgm:presOf axis="ch desOrSelf" ptType="node node" st="2 1" cnt="1 0"/>
                </dgm:if>
                <dgm:else name="Name156">
                  <dgm:presOf axis="ch desOrSelf" ptType="node node" st="3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57"/>
    </dgm:choose>
    <dgm:choose name="Name158">
      <dgm:if name="Name159" axis="ch" ptType="node" func="cnt" op="gte" val="6">
        <dgm:layoutNode name="wedge6">
          <dgm:alg type="sp"/>
          <dgm:choose name="Name160">
            <dgm:if name="Name161" axis="ch" ptType="node" func="cnt" op="equ" val="6">
              <dgm:shape xmlns:r="http://schemas.openxmlformats.org/officeDocument/2006/relationships" type="pie" r:blip="">
                <dgm:adjLst>
                  <dgm:adj idx="1" val="210"/>
                  <dgm:adj idx="2" val="270"/>
                </dgm:adjLst>
              </dgm:shape>
            </dgm:if>
            <dgm:else name="Name162">
              <dgm:shape xmlns:r="http://schemas.openxmlformats.org/officeDocument/2006/relationships" type="pie" r:blip="">
                <dgm:adjLst>
                  <dgm:adj idx="1" val="167.1429"/>
                  <dgm:adj idx="2" val="218.5714"/>
                </dgm:adjLst>
              </dgm:shape>
            </dgm:else>
          </dgm:choose>
          <dgm:choose name="Name163">
            <dgm:if name="Name164" func="var" arg="dir" op="equ" val="norm">
              <dgm:presOf axis="ch desOrSelf" ptType="node node" st="6 1" cnt="1 0"/>
            </dgm:if>
            <dgm:else name="Name165">
              <dgm:choose name="Name166">
                <dgm:if name="Name167" axis="ch" ptType="node" func="cnt" op="equ" val="6">
                  <dgm:presOf axis="ch desOrSelf" ptType="node node" st="1 1" cnt="1 0"/>
                </dgm:if>
                <dgm:else name="Name168">
                  <dgm:presOf axis="ch desOrSelf" ptType="node node" st="2 1" cnt="1 0"/>
                </dgm:else>
              </dgm:choose>
            </dgm:else>
          </dgm:choose>
          <dgm:constrLst/>
          <dgm:ruleLst/>
        </dgm:layoutNode>
        <dgm:layoutNode name="wedge6Tx" moveWith="wedge6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69">
            <dgm:if name="Name170" func="var" arg="dir" op="equ" val="norm">
              <dgm:presOf axis="ch desOrSelf" ptType="node node" st="6 1" cnt="1 0"/>
            </dgm:if>
            <dgm:else name="Name171">
              <dgm:choose name="Name172">
                <dgm:if name="Name173" axis="ch" ptType="node" func="cnt" op="equ" val="6">
                  <dgm:presOf axis="ch desOrSelf" ptType="node node" st="1 1" cnt="1 0"/>
                </dgm:if>
                <dgm:else name="Name174">
                  <dgm:presOf axis="ch desOrSelf" ptType="node node" st="2 1" cnt="1 0"/>
                </dgm:else>
              </dgm:choose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75"/>
    </dgm:choose>
    <dgm:choose name="Name176">
      <dgm:if name="Name177" axis="ch" ptType="node" func="cnt" op="gte" val="7">
        <dgm:layoutNode name="wedge7">
          <dgm:alg type="sp"/>
          <dgm:shape xmlns:r="http://schemas.openxmlformats.org/officeDocument/2006/relationships" type="pie" r:blip="">
            <dgm:adjLst>
              <dgm:adj idx="1" val="218.5714"/>
              <dgm:adj idx="2" val="270"/>
            </dgm:adjLst>
          </dgm:shape>
          <dgm:choose name="Name178">
            <dgm:if name="Name179" func="var" arg="dir" op="equ" val="norm">
              <dgm:presOf axis="ch desOrSelf" ptType="node node" st="7 1" cnt="1 0"/>
            </dgm:if>
            <dgm:else name="Name180">
              <dgm:presOf axis="ch desOrSelf" ptType="node node" st="1 1" cnt="1 0"/>
            </dgm:else>
          </dgm:choose>
          <dgm:constrLst/>
          <dgm:ruleLst/>
        </dgm:layoutNode>
        <dgm:layoutNode name="wedge7Tx" moveWith="wedge7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choose name="Name181">
            <dgm:if name="Name182" func="var" arg="dir" op="equ" val="norm">
              <dgm:presOf axis="ch desOrSelf" ptType="node node" st="7 1" cnt="1 0"/>
            </dgm:if>
            <dgm:else name="Name183">
              <dgm:presOf axis="ch desOrSelf" ptType="node node" st="1 1" cnt="1 0"/>
            </dgm:else>
          </dgm:choose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if>
      <dgm:else name="Name184"/>
    </dgm:choos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295DE2-E700-4A14-A82A-F60B8BA68377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B0F3EE-1DFC-4828-B89E-C0CF8F588FA2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E57883-6299-40A6-BDF5-98C7CDD0D7F5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8FD11F0-B956-4BDE-BCEC-675FC0DB48EB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sz="10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D0279B-D128-45DD-99C5-AC87187F313B}" type="slidenum">
              <a:rPr lang="en-GB" smtClean="0"/>
              <a:pPr/>
              <a:t>3</a:t>
            </a:fld>
            <a:endParaRPr lang="en-GB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1248E9A6-F4DD-4C20-96D7-466DD0E1A184}" type="slidenum">
              <a:rPr lang="en-US"/>
              <a:pPr/>
              <a:t>4</a:t>
            </a:fld>
            <a:endParaRPr lang="en-US"/>
          </a:p>
        </p:txBody>
      </p:sp>
      <p:sp>
        <p:nvSpPr>
          <p:cNvPr id="12154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8163" y="685800"/>
            <a:ext cx="2916237" cy="2187575"/>
          </a:xfrm>
          <a:ln/>
        </p:spPr>
      </p:sp>
      <p:sp>
        <p:nvSpPr>
          <p:cNvPr id="121549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D9CAE5F-4CB6-4707-B144-8A2E39D57CB4}" type="slidenum">
              <a:rPr lang="en-US"/>
              <a:pPr/>
              <a:t>5</a:t>
            </a:fld>
            <a:endParaRPr lang="en-US"/>
          </a:p>
        </p:txBody>
      </p:sp>
      <p:sp>
        <p:nvSpPr>
          <p:cNvPr id="1202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8163" y="685800"/>
            <a:ext cx="2916237" cy="2187575"/>
          </a:xfrm>
          <a:ln/>
        </p:spPr>
      </p:sp>
      <p:sp>
        <p:nvSpPr>
          <p:cNvPr id="12021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sz="105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ED0279B-D128-45DD-99C5-AC87187F313B}" type="slidenum">
              <a:rPr lang="en-GB" smtClean="0"/>
              <a:pPr/>
              <a:t>6</a:t>
            </a:fld>
            <a:endParaRPr lang="en-GB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D9CAE5F-4CB6-4707-B144-8A2E39D57CB4}" type="slidenum">
              <a:rPr lang="en-US"/>
              <a:pPr/>
              <a:t>7</a:t>
            </a:fld>
            <a:endParaRPr lang="en-US"/>
          </a:p>
        </p:txBody>
      </p:sp>
      <p:sp>
        <p:nvSpPr>
          <p:cNvPr id="1202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8163" y="685800"/>
            <a:ext cx="2916237" cy="2187575"/>
          </a:xfrm>
          <a:ln/>
        </p:spPr>
      </p:sp>
      <p:sp>
        <p:nvSpPr>
          <p:cNvPr id="12021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D9CAE5F-4CB6-4707-B144-8A2E39D57CB4}" type="slidenum">
              <a:rPr lang="en-US"/>
              <a:pPr/>
              <a:t>8</a:t>
            </a:fld>
            <a:endParaRPr lang="en-US"/>
          </a:p>
        </p:txBody>
      </p:sp>
      <p:sp>
        <p:nvSpPr>
          <p:cNvPr id="12021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8163" y="685800"/>
            <a:ext cx="2916237" cy="2187575"/>
          </a:xfrm>
          <a:ln/>
        </p:spPr>
      </p:sp>
      <p:sp>
        <p:nvSpPr>
          <p:cNvPr id="12021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AB1BE08B-4B18-4DC4-83D7-BD2A743E1C96}" type="slidenum">
              <a:rPr lang="en-US"/>
              <a:pPr/>
              <a:t>10</a:t>
            </a:fld>
            <a:endParaRPr lang="en-US"/>
          </a:p>
        </p:txBody>
      </p:sp>
      <p:sp>
        <p:nvSpPr>
          <p:cNvPr id="12513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8163" y="685800"/>
            <a:ext cx="2916237" cy="2187575"/>
          </a:xfrm>
          <a:ln/>
        </p:spPr>
      </p:sp>
      <p:sp>
        <p:nvSpPr>
          <p:cNvPr id="12513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B95425F-465F-4BC2-BBC3-0E30503EE8B2}" type="slidenum">
              <a:rPr lang="en-US"/>
              <a:pPr/>
              <a:t>11</a:t>
            </a:fld>
            <a:endParaRPr lang="en-US"/>
          </a:p>
        </p:txBody>
      </p:sp>
      <p:sp>
        <p:nvSpPr>
          <p:cNvPr id="119808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38163" y="685800"/>
            <a:ext cx="2916237" cy="2187575"/>
          </a:xfrm>
          <a:ln/>
        </p:spPr>
      </p:sp>
      <p:sp>
        <p:nvSpPr>
          <p:cNvPr id="119808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28600" y="304800"/>
            <a:ext cx="8686800" cy="1219200"/>
          </a:xfrm>
          <a:solidFill>
            <a:srgbClr val="003366"/>
          </a:solidFill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eamwork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28600" y="2057400"/>
            <a:ext cx="8686800" cy="4343400"/>
          </a:xfrm>
        </p:spPr>
        <p:txBody>
          <a:bodyPr/>
          <a:lstStyle>
            <a:lvl1pPr marL="342900" marR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3366"/>
              </a:buClr>
              <a:buSzTx/>
              <a:buFont typeface="Wingdings" pitchFamily="2" charset="2"/>
              <a:buChar char="§"/>
              <a:tabLst/>
              <a:defRPr sz="2400">
                <a:solidFill>
                  <a:srgbClr val="003366"/>
                </a:solidFill>
              </a:defRPr>
            </a:lvl1pPr>
            <a:lvl2pPr>
              <a:defRPr sz="2000">
                <a:solidFill>
                  <a:srgbClr val="003366"/>
                </a:solidFill>
              </a:defRPr>
            </a:lvl2pPr>
            <a:lvl3pPr marL="11430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600">
                <a:solidFill>
                  <a:srgbClr val="003366"/>
                </a:solidFill>
              </a:defRPr>
            </a:lvl3pPr>
            <a:lvl4pPr>
              <a:buClr>
                <a:srgbClr val="003366"/>
              </a:buClr>
              <a:buFont typeface="Wingdings" pitchFamily="2" charset="2"/>
              <a:buChar char="Ø"/>
              <a:defRPr sz="1400">
                <a:solidFill>
                  <a:srgbClr val="003366"/>
                </a:solidFill>
              </a:defRPr>
            </a:lvl4pPr>
            <a:lvl5pPr marL="2057400" marR="0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>
                <a:solidFill>
                  <a:srgbClr val="003366"/>
                </a:solidFill>
              </a:defRPr>
            </a:lvl5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2600" dirty="0" smtClean="0">
                <a:solidFill>
                  <a:srgbClr val="003366"/>
                </a:solidFill>
              </a:rPr>
              <a:t>Bullet 1: Size 24</a:t>
            </a:r>
            <a:endParaRPr lang="en-US" dirty="0" smtClean="0"/>
          </a:p>
          <a:p>
            <a:pPr lvl="1"/>
            <a:r>
              <a:rPr lang="en-US" sz="2200" dirty="0" smtClean="0">
                <a:solidFill>
                  <a:srgbClr val="003366"/>
                </a:solidFill>
              </a:rPr>
              <a:t>Bullet 2: Size 20</a:t>
            </a:r>
          </a:p>
          <a:p>
            <a:pPr marL="1143000" marR="0" lvl="2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900" dirty="0" smtClean="0">
                <a:solidFill>
                  <a:schemeClr val="tx2"/>
                </a:solidFill>
              </a:rPr>
              <a:t>Bullet 3: Size 18</a:t>
            </a:r>
          </a:p>
          <a:p>
            <a:pPr marL="1600200" marR="0" lvl="3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900" dirty="0" smtClean="0">
                <a:solidFill>
                  <a:schemeClr val="tx2"/>
                </a:solidFill>
              </a:rPr>
              <a:t>Bullet 3: Size 16</a:t>
            </a:r>
          </a:p>
          <a:p>
            <a:pPr marL="2057400" marR="0" lvl="4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900" dirty="0" smtClean="0">
              <a:solidFill>
                <a:schemeClr val="tx2"/>
              </a:solidFill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lang="en-US" sz="1900" dirty="0" smtClean="0">
                <a:solidFill>
                  <a:schemeClr val="tx2"/>
                </a:solidFill>
              </a:rPr>
              <a:t>Bullet 3: Size 16</a:t>
            </a:r>
          </a:p>
          <a:p>
            <a:pPr marL="2057400" marR="0" lvl="4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sz="1900" dirty="0" smtClean="0">
              <a:solidFill>
                <a:schemeClr val="tx2"/>
              </a:solidFill>
            </a:endParaRPr>
          </a:p>
          <a:p>
            <a:pPr marL="1600200" marR="0" lvl="3" indent="-2286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lang="en-US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228600" y="6629400"/>
            <a:ext cx="8686800" cy="0"/>
          </a:xfrm>
          <a:prstGeom prst="line">
            <a:avLst/>
          </a:prstGeom>
          <a:ln w="25400" cmpd="sng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 txBox="1">
            <a:spLocks/>
          </p:cNvSpPr>
          <p:nvPr userDrawn="1"/>
        </p:nvSpPr>
        <p:spPr>
          <a:xfrm>
            <a:off x="228600" y="1524000"/>
            <a:ext cx="8686800" cy="3810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 anchor="ctr">
            <a:normAutofit fontScale="47500" lnSpcReduction="20000"/>
          </a:bodyPr>
          <a:lstStyle>
            <a:lvl1pPr algn="l"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4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95000"/>
                  <a:lumOff val="5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F05DF8-F491-48C4-A421-57DB2CE7C6A6}" type="datetimeFigureOut">
              <a:rPr lang="en-GB" smtClean="0"/>
              <a:pPr/>
              <a:t>20/08/20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E21579-856F-4DB5-8ACA-C6D967B7D381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Colors" Target="../diagrams/colors2.xml"/><Relationship Id="rId3" Type="http://schemas.openxmlformats.org/officeDocument/2006/relationships/image" Target="../media/image1.png"/><Relationship Id="rId7" Type="http://schemas.openxmlformats.org/officeDocument/2006/relationships/diagramQuickStyle" Target="../diagrams/quickStyle1.xml"/><Relationship Id="rId12" Type="http://schemas.openxmlformats.org/officeDocument/2006/relationships/diagramQuickStyle" Target="../diagrams/quickStyle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Layout" Target="../diagrams/layout1.xml"/><Relationship Id="rId11" Type="http://schemas.openxmlformats.org/officeDocument/2006/relationships/diagramLayout" Target="../diagrams/layout2.xml"/><Relationship Id="rId5" Type="http://schemas.openxmlformats.org/officeDocument/2006/relationships/diagramData" Target="../diagrams/data1.xml"/><Relationship Id="rId10" Type="http://schemas.openxmlformats.org/officeDocument/2006/relationships/diagramData" Target="../diagrams/data2.xml"/><Relationship Id="rId4" Type="http://schemas.openxmlformats.org/officeDocument/2006/relationships/chart" Target="../charts/chart1.xml"/><Relationship Id="rId9" Type="http://schemas.microsoft.com/office/2007/relationships/diagramDrawing" Target="../diagrams/drawing1.xml"/><Relationship Id="rId14" Type="http://schemas.microsoft.com/office/2007/relationships/diagramDrawing" Target="../diagrams/drawing2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1.pn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13" Type="http://schemas.openxmlformats.org/officeDocument/2006/relationships/diagramData" Target="../diagrams/data5.xml"/><Relationship Id="rId18" Type="http://schemas.openxmlformats.org/officeDocument/2006/relationships/diagramData" Target="../diagrams/data6.xml"/><Relationship Id="rId26" Type="http://schemas.openxmlformats.org/officeDocument/2006/relationships/diagramColors" Target="../diagrams/colors7.xml"/><Relationship Id="rId3" Type="http://schemas.openxmlformats.org/officeDocument/2006/relationships/tags" Target="../tags/tag3.xml"/><Relationship Id="rId21" Type="http://schemas.openxmlformats.org/officeDocument/2006/relationships/diagramColors" Target="../diagrams/colors6.xml"/><Relationship Id="rId7" Type="http://schemas.openxmlformats.org/officeDocument/2006/relationships/image" Target="../media/image1.png"/><Relationship Id="rId12" Type="http://schemas.microsoft.com/office/2007/relationships/diagramDrawing" Target="../diagrams/drawing4.xml"/><Relationship Id="rId17" Type="http://schemas.microsoft.com/office/2007/relationships/diagramDrawing" Target="../diagrams/drawing5.xml"/><Relationship Id="rId25" Type="http://schemas.openxmlformats.org/officeDocument/2006/relationships/diagramQuickStyle" Target="../diagrams/quickStyle7.xml"/><Relationship Id="rId2" Type="http://schemas.openxmlformats.org/officeDocument/2006/relationships/tags" Target="../tags/tag2.xml"/><Relationship Id="rId16" Type="http://schemas.openxmlformats.org/officeDocument/2006/relationships/diagramColors" Target="../diagrams/colors5.xml"/><Relationship Id="rId20" Type="http://schemas.openxmlformats.org/officeDocument/2006/relationships/diagramQuickStyle" Target="../diagrams/quickStyle6.xml"/><Relationship Id="rId1" Type="http://schemas.openxmlformats.org/officeDocument/2006/relationships/tags" Target="../tags/tag1.xml"/><Relationship Id="rId6" Type="http://schemas.openxmlformats.org/officeDocument/2006/relationships/notesSlide" Target="../notesSlides/notesSlide6.xml"/><Relationship Id="rId11" Type="http://schemas.openxmlformats.org/officeDocument/2006/relationships/diagramColors" Target="../diagrams/colors4.xml"/><Relationship Id="rId24" Type="http://schemas.openxmlformats.org/officeDocument/2006/relationships/diagramLayout" Target="../diagrams/layout7.xml"/><Relationship Id="rId5" Type="http://schemas.openxmlformats.org/officeDocument/2006/relationships/slideLayout" Target="../slideLayouts/slideLayout2.xml"/><Relationship Id="rId15" Type="http://schemas.openxmlformats.org/officeDocument/2006/relationships/diagramQuickStyle" Target="../diagrams/quickStyle5.xml"/><Relationship Id="rId23" Type="http://schemas.openxmlformats.org/officeDocument/2006/relationships/diagramData" Target="../diagrams/data7.xml"/><Relationship Id="rId10" Type="http://schemas.openxmlformats.org/officeDocument/2006/relationships/diagramQuickStyle" Target="../diagrams/quickStyle4.xml"/><Relationship Id="rId19" Type="http://schemas.openxmlformats.org/officeDocument/2006/relationships/diagramLayout" Target="../diagrams/layout6.xml"/><Relationship Id="rId4" Type="http://schemas.openxmlformats.org/officeDocument/2006/relationships/tags" Target="../tags/tag4.xml"/><Relationship Id="rId9" Type="http://schemas.openxmlformats.org/officeDocument/2006/relationships/diagramLayout" Target="../diagrams/layout4.xml"/><Relationship Id="rId14" Type="http://schemas.openxmlformats.org/officeDocument/2006/relationships/diagramLayout" Target="../diagrams/layout5.xml"/><Relationship Id="rId22" Type="http://schemas.microsoft.com/office/2007/relationships/diagramDrawing" Target="../diagrams/drawing6.xml"/><Relationship Id="rId27" Type="http://schemas.microsoft.com/office/2007/relationships/diagramDrawing" Target="../diagrams/drawin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304800"/>
            <a:ext cx="8686800" cy="1698625"/>
          </a:xfrm>
          <a:solidFill>
            <a:srgbClr val="003366"/>
          </a:solidFill>
          <a:ln>
            <a:solidFill>
              <a:schemeClr val="tx2"/>
            </a:solidFill>
          </a:ln>
        </p:spPr>
        <p:txBody>
          <a:bodyPr>
            <a:noAutofit/>
          </a:bodyPr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Firm Overview &amp; Services </a:t>
            </a:r>
            <a:r>
              <a:rPr lang="en-US" sz="4000" dirty="0" smtClean="0">
                <a:solidFill>
                  <a:schemeClr val="bg1"/>
                </a:solidFill>
              </a:rPr>
              <a:t/>
            </a:r>
            <a:br>
              <a:rPr lang="en-US" sz="4000" dirty="0" smtClean="0">
                <a:solidFill>
                  <a:schemeClr val="bg1"/>
                </a:solidFill>
              </a:rPr>
            </a:br>
            <a:r>
              <a:rPr lang="en-US" sz="2800" dirty="0" smtClean="0">
                <a:solidFill>
                  <a:schemeClr val="bg1"/>
                </a:solidFill>
              </a:rPr>
              <a:t>An Introduction</a:t>
            </a:r>
            <a:r>
              <a:rPr lang="en-US" sz="2800" dirty="0" smtClean="0">
                <a:solidFill>
                  <a:schemeClr val="bg1"/>
                </a:solidFill>
              </a:rPr>
              <a:t>			                       </a:t>
            </a:r>
            <a:r>
              <a:rPr lang="en-US" sz="2800" b="1" dirty="0" smtClean="0">
                <a:solidFill>
                  <a:schemeClr val="bg1"/>
                </a:solidFill>
              </a:rPr>
              <a:t>Dermot Hand </a:t>
            </a:r>
            <a:endParaRPr lang="en-GB" sz="2800" b="1" dirty="0" smtClean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8600" y="1981200"/>
            <a:ext cx="8686800" cy="369332"/>
          </a:xfrm>
          <a:prstGeom prst="rect">
            <a:avLst/>
          </a:prstGeom>
          <a:solidFill>
            <a:srgbClr val="A50021"/>
          </a:solidFill>
          <a:ln>
            <a:solidFill>
              <a:srgbClr val="CC0000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August </a:t>
            </a:r>
            <a:r>
              <a:rPr lang="en-US" b="1" dirty="0" smtClean="0">
                <a:solidFill>
                  <a:schemeClr val="bg1"/>
                </a:solidFill>
              </a:rPr>
              <a:t>2012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027" name="Picture 3" descr="IHR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00784" y="184880"/>
            <a:ext cx="1190816" cy="8819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 descr="C:\Users\Ruth\Tara\IHR Website\Business Images\Free Business Images\Business People\Great Business Peopl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2518410"/>
            <a:ext cx="8686800" cy="40538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D76418-EBCF-44D3-ADCD-1A8F34E32AFC}" type="slidenum">
              <a:rPr lang="en-US"/>
              <a:pPr/>
              <a:t>10</a:t>
            </a:fld>
            <a:endParaRPr lang="en-US"/>
          </a:p>
        </p:txBody>
      </p:sp>
      <p:sp>
        <p:nvSpPr>
          <p:cNvPr id="12503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1981200"/>
            <a:ext cx="8534400" cy="4641850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GB" sz="1700" b="1" dirty="0"/>
              <a:t>Executive Remuneration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Financial Services Group (large)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Design of new framework to align with CEBS (</a:t>
            </a:r>
            <a:r>
              <a:rPr lang="en-GB" sz="1500" i="1" dirty="0"/>
              <a:t>EBA</a:t>
            </a:r>
            <a:r>
              <a:rPr lang="en-GB" sz="1500" dirty="0"/>
              <a:t>) &amp; CEIOPS (</a:t>
            </a:r>
            <a:r>
              <a:rPr lang="en-GB" sz="1500" i="1" dirty="0"/>
              <a:t>EIOPA</a:t>
            </a:r>
            <a:r>
              <a:rPr lang="en-GB" sz="1500" dirty="0"/>
              <a:t>)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Advice &amp; support to </a:t>
            </a:r>
            <a:r>
              <a:rPr lang="en-GB" sz="1500" dirty="0" smtClean="0"/>
              <a:t>Remuneration Committee </a:t>
            </a:r>
            <a:r>
              <a:rPr lang="en-GB" sz="1500" dirty="0"/>
              <a:t>and Risk </a:t>
            </a:r>
            <a:r>
              <a:rPr lang="en-GB" sz="1500" dirty="0" smtClean="0"/>
              <a:t>Committee</a:t>
            </a:r>
            <a:endParaRPr lang="en-US" sz="1500" dirty="0"/>
          </a:p>
          <a:p>
            <a:pPr>
              <a:lnSpc>
                <a:spcPct val="80000"/>
              </a:lnSpc>
            </a:pPr>
            <a:r>
              <a:rPr lang="en-US" sz="1700" b="1" dirty="0"/>
              <a:t>Capability Development Framework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IT Department (1,500 staff) in large Bank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Design and implement </a:t>
            </a:r>
            <a:r>
              <a:rPr lang="en-GB" sz="1500" dirty="0" smtClean="0"/>
              <a:t>role </a:t>
            </a:r>
            <a:r>
              <a:rPr lang="en-GB" sz="1500" dirty="0"/>
              <a:t>f</a:t>
            </a:r>
            <a:r>
              <a:rPr lang="en-GB" sz="1500" dirty="0" smtClean="0"/>
              <a:t>amilies</a:t>
            </a:r>
            <a:r>
              <a:rPr lang="en-GB" sz="1500" dirty="0"/>
              <a:t>, </a:t>
            </a:r>
            <a:r>
              <a:rPr lang="en-GB" sz="1500" dirty="0" smtClean="0"/>
              <a:t>role </a:t>
            </a:r>
            <a:r>
              <a:rPr lang="en-GB" sz="1500" dirty="0"/>
              <a:t>p</a:t>
            </a:r>
            <a:r>
              <a:rPr lang="en-GB" sz="1500" dirty="0" smtClean="0"/>
              <a:t>rofiles </a:t>
            </a:r>
            <a:r>
              <a:rPr lang="en-GB" sz="1500" dirty="0"/>
              <a:t>&amp; </a:t>
            </a:r>
            <a:r>
              <a:rPr lang="en-GB" sz="1500" dirty="0" smtClean="0"/>
              <a:t>role/person </a:t>
            </a:r>
            <a:r>
              <a:rPr lang="en-GB" sz="1500" dirty="0"/>
              <a:t>m</a:t>
            </a:r>
            <a:r>
              <a:rPr lang="en-GB" sz="1500" dirty="0" smtClean="0"/>
              <a:t>atching</a:t>
            </a:r>
            <a:endParaRPr lang="en-GB" sz="1500" dirty="0"/>
          </a:p>
          <a:p>
            <a:pPr lvl="1">
              <a:lnSpc>
                <a:spcPct val="80000"/>
              </a:lnSpc>
            </a:pPr>
            <a:r>
              <a:rPr lang="en-GB" sz="1500" dirty="0"/>
              <a:t>Build Capability Development Strategy</a:t>
            </a:r>
            <a:endParaRPr lang="en-US" sz="1500" dirty="0"/>
          </a:p>
          <a:p>
            <a:pPr>
              <a:lnSpc>
                <a:spcPct val="80000"/>
              </a:lnSpc>
            </a:pPr>
            <a:r>
              <a:rPr lang="en-GB" sz="1700" b="1" dirty="0"/>
              <a:t>Performance Management Enhancement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Telecoms Company (medium size)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Design and implement </a:t>
            </a:r>
            <a:r>
              <a:rPr lang="en-GB" sz="1500" dirty="0" smtClean="0"/>
              <a:t>enhanced </a:t>
            </a:r>
            <a:r>
              <a:rPr lang="en-GB" sz="1500" dirty="0"/>
              <a:t>PM </a:t>
            </a:r>
            <a:r>
              <a:rPr lang="en-GB" sz="1500" dirty="0" smtClean="0"/>
              <a:t>framework</a:t>
            </a:r>
            <a:endParaRPr lang="en-GB" sz="1500" dirty="0"/>
          </a:p>
          <a:p>
            <a:pPr lvl="1">
              <a:lnSpc>
                <a:spcPct val="80000"/>
              </a:lnSpc>
            </a:pPr>
            <a:r>
              <a:rPr lang="en-GB" sz="1500" dirty="0"/>
              <a:t>Conduct </a:t>
            </a:r>
            <a:r>
              <a:rPr lang="en-GB" sz="1500" dirty="0" smtClean="0"/>
              <a:t>training </a:t>
            </a:r>
            <a:r>
              <a:rPr lang="en-GB" sz="1500" dirty="0"/>
              <a:t>workshops for </a:t>
            </a:r>
            <a:r>
              <a:rPr lang="en-GB" sz="1500" dirty="0" smtClean="0"/>
              <a:t>executives </a:t>
            </a:r>
            <a:r>
              <a:rPr lang="en-GB" sz="1500" dirty="0"/>
              <a:t>and </a:t>
            </a:r>
            <a:r>
              <a:rPr lang="en-GB" sz="1500" dirty="0" smtClean="0"/>
              <a:t>s</a:t>
            </a:r>
            <a:r>
              <a:rPr lang="en-GB" sz="1500" dirty="0" smtClean="0"/>
              <a:t>enior managers</a:t>
            </a:r>
            <a:endParaRPr lang="en-GB" sz="1500" dirty="0"/>
          </a:p>
          <a:p>
            <a:pPr>
              <a:lnSpc>
                <a:spcPct val="80000"/>
              </a:lnSpc>
            </a:pPr>
            <a:r>
              <a:rPr lang="en-GB" sz="1700" b="1" dirty="0"/>
              <a:t>Performance Based Remuneration Framework</a:t>
            </a:r>
            <a:r>
              <a:rPr lang="en-GB" sz="1800" dirty="0"/>
              <a:t> 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FMCG (medium size)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Replace traditional remuneration framework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Introduce performance-based fixed and variable rewards</a:t>
            </a:r>
          </a:p>
          <a:p>
            <a:pPr>
              <a:lnSpc>
                <a:spcPct val="80000"/>
              </a:lnSpc>
            </a:pPr>
            <a:r>
              <a:rPr lang="en-GB" sz="1700" b="1" dirty="0"/>
              <a:t>Staff Costs Management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Financial Services (large)</a:t>
            </a:r>
          </a:p>
          <a:p>
            <a:pPr lvl="1">
              <a:lnSpc>
                <a:spcPct val="80000"/>
              </a:lnSpc>
            </a:pPr>
            <a:r>
              <a:rPr lang="en-GB" sz="1500" dirty="0"/>
              <a:t>Design of Rightsizing Strategy</a:t>
            </a:r>
            <a:endParaRPr lang="en-US" sz="1500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28600" y="332513"/>
            <a:ext cx="8686800" cy="1241425"/>
          </a:xfrm>
          <a:prstGeom prst="rect">
            <a:avLst/>
          </a:prstGeom>
          <a:solidFill>
            <a:srgbClr val="003366"/>
          </a:solidFill>
          <a:ln>
            <a:solidFill>
              <a:schemeClr val="tx2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</a:pPr>
            <a:r>
              <a:rPr lang="en-US" sz="4400" dirty="0" smtClean="0">
                <a:solidFill>
                  <a:schemeClr val="bg1"/>
                </a:solidFill>
              </a:rPr>
              <a:t>Sample Client Assignments</a:t>
            </a: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8600" y="1551713"/>
            <a:ext cx="8686800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GB" b="1" dirty="0">
              <a:solidFill>
                <a:srgbClr val="003366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ample Client Assignments</a:t>
            </a:r>
            <a:endParaRPr lang="en-GB" dirty="0"/>
          </a:p>
        </p:txBody>
      </p:sp>
      <p:pic>
        <p:nvPicPr>
          <p:cNvPr id="8" name="Picture 3" descr="IHR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00784" y="228600"/>
            <a:ext cx="1190816" cy="8819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B14979B-F26A-4A52-9DF4-F02798540741}" type="slidenum">
              <a:rPr lang="en-US"/>
              <a:pPr/>
              <a:t>11</a:t>
            </a:fld>
            <a:endParaRPr lang="en-US"/>
          </a:p>
        </p:txBody>
      </p:sp>
      <p:sp>
        <p:nvSpPr>
          <p:cNvPr id="1171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2057400"/>
            <a:ext cx="8750300" cy="4419600"/>
          </a:xfrm>
        </p:spPr>
        <p:txBody>
          <a:bodyPr/>
          <a:lstStyle/>
          <a:p>
            <a:r>
              <a:rPr lang="en-US" sz="2400" i="1" dirty="0"/>
              <a:t>Manage people as a business issue</a:t>
            </a:r>
          </a:p>
          <a:p>
            <a:pPr lvl="1"/>
            <a:r>
              <a:rPr lang="en-GB" sz="2000" dirty="0"/>
              <a:t>Analytical rigour, linked to financial outcomes</a:t>
            </a:r>
          </a:p>
          <a:p>
            <a:r>
              <a:rPr lang="en-GB" sz="2400" i="1" dirty="0"/>
              <a:t>Measurable value</a:t>
            </a:r>
            <a:r>
              <a:rPr lang="en-GB" sz="2400" dirty="0"/>
              <a:t> </a:t>
            </a:r>
          </a:p>
          <a:p>
            <a:pPr lvl="1"/>
            <a:r>
              <a:rPr lang="en-GB" sz="2000" dirty="0"/>
              <a:t>Innovative yet practical solutions that deliver results</a:t>
            </a:r>
            <a:endParaRPr lang="en-US" sz="2000" dirty="0"/>
          </a:p>
          <a:p>
            <a:r>
              <a:rPr lang="en-US" sz="2400" i="1" dirty="0"/>
              <a:t>Work</a:t>
            </a:r>
            <a:r>
              <a:rPr lang="en-GB" sz="2400" i="1" dirty="0"/>
              <a:t> in</a:t>
            </a:r>
            <a:r>
              <a:rPr lang="en-US" sz="2400" i="1" dirty="0"/>
              <a:t> partnership with us</a:t>
            </a:r>
            <a:endParaRPr lang="en-GB" sz="2400" i="1" dirty="0"/>
          </a:p>
          <a:p>
            <a:pPr lvl="1"/>
            <a:r>
              <a:rPr lang="en-GB" sz="2000" dirty="0"/>
              <a:t>S</a:t>
            </a:r>
            <a:r>
              <a:rPr lang="en-US" sz="2000" dirty="0"/>
              <a:t>hared accountability and </a:t>
            </a:r>
            <a:r>
              <a:rPr lang="en-GB" sz="2000" dirty="0"/>
              <a:t>knowledge transfer </a:t>
            </a:r>
            <a:endParaRPr lang="en-US" sz="2000" dirty="0"/>
          </a:p>
          <a:p>
            <a:r>
              <a:rPr lang="en-US" sz="2400" i="1" dirty="0"/>
              <a:t>Proven methodologies</a:t>
            </a:r>
          </a:p>
          <a:p>
            <a:pPr lvl="1"/>
            <a:r>
              <a:rPr lang="en-US" sz="2000" dirty="0"/>
              <a:t>Project management &amp; service specific frameworks </a:t>
            </a:r>
            <a:endParaRPr lang="en-GB" sz="2000" dirty="0"/>
          </a:p>
          <a:p>
            <a:r>
              <a:rPr lang="en-GB" sz="2400" i="1" dirty="0"/>
              <a:t>“See it through”</a:t>
            </a:r>
          </a:p>
          <a:p>
            <a:pPr lvl="1"/>
            <a:r>
              <a:rPr lang="en-GB" sz="2000" dirty="0"/>
              <a:t>You stick with us until we finish the job!</a:t>
            </a:r>
            <a:endParaRPr lang="en-US" sz="2000" dirty="0"/>
          </a:p>
        </p:txBody>
      </p:sp>
      <p:sp>
        <p:nvSpPr>
          <p:cNvPr id="5" name="TextBox 4"/>
          <p:cNvSpPr txBox="1"/>
          <p:nvPr/>
        </p:nvSpPr>
        <p:spPr>
          <a:xfrm>
            <a:off x="228600" y="1551713"/>
            <a:ext cx="8686800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GB" b="1" dirty="0">
              <a:solidFill>
                <a:srgbClr val="003366"/>
              </a:solidFill>
            </a:endParaRPr>
          </a:p>
        </p:txBody>
      </p:sp>
      <p:sp>
        <p:nvSpPr>
          <p:cNvPr id="7" name="Title 8"/>
          <p:cNvSpPr txBox="1">
            <a:spLocks/>
          </p:cNvSpPr>
          <p:nvPr/>
        </p:nvSpPr>
        <p:spPr>
          <a:xfrm>
            <a:off x="228600" y="304800"/>
            <a:ext cx="8686800" cy="1219200"/>
          </a:xfrm>
          <a:prstGeom prst="rect">
            <a:avLst/>
          </a:prstGeom>
          <a:solidFill>
            <a:srgbClr val="003366"/>
          </a:solidFill>
        </p:spPr>
        <p:txBody>
          <a:bodyPr vert="horz" lIns="91440" tIns="45720" rIns="91440" bIns="45720" rtlCol="0" anchor="ctr">
            <a:normAutofit fontScale="92500" lnSpcReduction="10000"/>
          </a:bodyPr>
          <a:lstStyle/>
          <a:p>
            <a:pPr lvl="0">
              <a:spcBef>
                <a:spcPct val="0"/>
              </a:spcBef>
            </a:pPr>
            <a:r>
              <a:rPr lang="en-US" sz="4400" dirty="0" smtClean="0">
                <a:solidFill>
                  <a:schemeClr val="bg1"/>
                </a:solidFill>
              </a:rPr>
              <a:t>What Makes Us Different?</a:t>
            </a:r>
            <a:br>
              <a:rPr lang="en-US" sz="4400" dirty="0" smtClean="0">
                <a:solidFill>
                  <a:schemeClr val="bg1"/>
                </a:solidFill>
              </a:rPr>
            </a:br>
            <a:r>
              <a:rPr lang="en-US" sz="4400" dirty="0" smtClean="0">
                <a:solidFill>
                  <a:schemeClr val="bg1"/>
                </a:solidFill>
              </a:rPr>
              <a:t> </a:t>
            </a:r>
            <a:r>
              <a:rPr lang="en-US" sz="4000" dirty="0" smtClean="0">
                <a:solidFill>
                  <a:schemeClr val="bg1"/>
                </a:solidFill>
              </a:rPr>
              <a:t>- What our Clients say…</a:t>
            </a: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8" name="Picture 3" descr="IHR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00784" y="228600"/>
            <a:ext cx="1190816" cy="881920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304800"/>
            <a:ext cx="8686800" cy="1698625"/>
          </a:xfrm>
          <a:solidFill>
            <a:srgbClr val="003366"/>
          </a:solidFill>
          <a:ln>
            <a:solidFill>
              <a:schemeClr val="tx2"/>
            </a:solidFill>
          </a:ln>
        </p:spPr>
        <p:txBody>
          <a:bodyPr>
            <a:noAutofit/>
          </a:bodyPr>
          <a:lstStyle/>
          <a:p>
            <a:pPr algn="l"/>
            <a:r>
              <a:rPr lang="en-GB" dirty="0" smtClean="0">
                <a:solidFill>
                  <a:schemeClr val="bg1"/>
                </a:solidFill>
              </a:rPr>
              <a:t>Firm Overview &amp; Services </a:t>
            </a:r>
            <a:r>
              <a:rPr lang="en-US" sz="4000" dirty="0" smtClean="0">
                <a:solidFill>
                  <a:schemeClr val="bg1"/>
                </a:solidFill>
              </a:rPr>
              <a:t/>
            </a:r>
            <a:br>
              <a:rPr lang="en-US" sz="4000" dirty="0" smtClean="0">
                <a:solidFill>
                  <a:schemeClr val="bg1"/>
                </a:solidFill>
              </a:rPr>
            </a:br>
            <a:r>
              <a:rPr lang="en-US" sz="2800" dirty="0" smtClean="0">
                <a:solidFill>
                  <a:schemeClr val="bg1"/>
                </a:solidFill>
              </a:rPr>
              <a:t>An Introduction</a:t>
            </a:r>
            <a:r>
              <a:rPr lang="en-US" sz="2800" dirty="0" smtClean="0">
                <a:solidFill>
                  <a:schemeClr val="bg1"/>
                </a:solidFill>
              </a:rPr>
              <a:t>			                       </a:t>
            </a:r>
            <a:r>
              <a:rPr lang="en-US" sz="2800" b="1" dirty="0" smtClean="0">
                <a:solidFill>
                  <a:schemeClr val="bg1"/>
                </a:solidFill>
              </a:rPr>
              <a:t>Dermot Hand </a:t>
            </a:r>
            <a:endParaRPr lang="en-GB" sz="2800" b="1" dirty="0" smtClean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8600" y="1981200"/>
            <a:ext cx="8686800" cy="369332"/>
          </a:xfrm>
          <a:prstGeom prst="rect">
            <a:avLst/>
          </a:prstGeom>
          <a:solidFill>
            <a:srgbClr val="A50021"/>
          </a:solidFill>
          <a:ln>
            <a:solidFill>
              <a:srgbClr val="CC0000"/>
            </a:solidFill>
          </a:ln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August </a:t>
            </a:r>
            <a:r>
              <a:rPr lang="en-US" b="1" dirty="0" smtClean="0">
                <a:solidFill>
                  <a:schemeClr val="bg1"/>
                </a:solidFill>
              </a:rPr>
              <a:t>2012</a:t>
            </a:r>
            <a:endParaRPr lang="en-GB" b="1" dirty="0">
              <a:solidFill>
                <a:schemeClr val="bg1"/>
              </a:solidFill>
            </a:endParaRPr>
          </a:p>
        </p:txBody>
      </p:sp>
      <p:pic>
        <p:nvPicPr>
          <p:cNvPr id="1027" name="Picture 3" descr="IHR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00784" y="184880"/>
            <a:ext cx="1190816" cy="881920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 descr="C:\Users\Ruth\Tara\IHR Website\Business Images\Free Business Images\Business People\Great Business People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2518410"/>
            <a:ext cx="8686800" cy="405384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7" name="Picture 1" descr="C:\Users\Ruth\Tara\IHR Website\Business Images\Free Business Images\Business People\56386603[1]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152400"/>
            <a:ext cx="8686800" cy="41148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4419600"/>
            <a:ext cx="8686800" cy="2079625"/>
          </a:xfrm>
          <a:solidFill>
            <a:srgbClr val="A50021"/>
          </a:solidFill>
          <a:ln>
            <a:solidFill>
              <a:srgbClr val="CC0000"/>
            </a:solidFill>
          </a:ln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</a:rPr>
              <a:t/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Strategic Context</a:t>
            </a:r>
            <a:endParaRPr lang="en-GB" dirty="0">
              <a:solidFill>
                <a:srgbClr val="FF9999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800" y="2743200"/>
            <a:ext cx="1524000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600" b="1" dirty="0" smtClean="0">
                <a:solidFill>
                  <a:schemeClr val="bg1"/>
                </a:solidFill>
              </a:rPr>
              <a:t>01</a:t>
            </a:r>
            <a:endParaRPr lang="en-GB" sz="9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778" name="Picture 2" descr="C:\Users\Ruth\Tara\IHR Website\Business Images\Free Business Images\Business People\75676677[1]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152400"/>
            <a:ext cx="8686800" cy="4156994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4419600"/>
            <a:ext cx="8686800" cy="2079625"/>
          </a:xfrm>
          <a:solidFill>
            <a:srgbClr val="A50021"/>
          </a:solidFill>
          <a:ln>
            <a:solidFill>
              <a:srgbClr val="CC0000"/>
            </a:solidFill>
          </a:ln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</a:rPr>
              <a:t/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Strategic Context</a:t>
            </a:r>
            <a:endParaRPr lang="en-GB" dirty="0">
              <a:solidFill>
                <a:srgbClr val="FF9999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800" y="2667000"/>
            <a:ext cx="1524000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600" b="1" dirty="0" smtClean="0">
                <a:solidFill>
                  <a:schemeClr val="bg1"/>
                </a:solidFill>
              </a:rPr>
              <a:t>01</a:t>
            </a:r>
            <a:endParaRPr lang="en-GB" sz="9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2" descr="C:\Users\Ruth\Tara\IHR Website\Business Images\Free Business Images\Business People\86514521[1]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228600"/>
            <a:ext cx="8686800" cy="4015972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4419600"/>
            <a:ext cx="8686800" cy="2079625"/>
          </a:xfrm>
          <a:solidFill>
            <a:srgbClr val="A50021"/>
          </a:solidFill>
          <a:ln>
            <a:solidFill>
              <a:srgbClr val="CC0000"/>
            </a:solidFill>
          </a:ln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</a:rPr>
              <a:t/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Strategic Context</a:t>
            </a:r>
            <a:endParaRPr lang="en-GB" dirty="0">
              <a:solidFill>
                <a:srgbClr val="FF9999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800" y="2667000"/>
            <a:ext cx="1524000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600" b="1" dirty="0" smtClean="0">
                <a:solidFill>
                  <a:schemeClr val="bg1"/>
                </a:solidFill>
              </a:rPr>
              <a:t>01</a:t>
            </a:r>
            <a:endParaRPr lang="en-GB" sz="9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4419600"/>
            <a:ext cx="8686800" cy="2079625"/>
          </a:xfrm>
          <a:solidFill>
            <a:srgbClr val="A50021"/>
          </a:solidFill>
          <a:ln>
            <a:solidFill>
              <a:srgbClr val="CC0000"/>
            </a:solidFill>
          </a:ln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</a:rPr>
              <a:t/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Strategic Context</a:t>
            </a:r>
            <a:endParaRPr lang="en-GB" dirty="0">
              <a:solidFill>
                <a:srgbClr val="FF9999"/>
              </a:solidFill>
            </a:endParaRPr>
          </a:p>
        </p:txBody>
      </p:sp>
      <p:pic>
        <p:nvPicPr>
          <p:cNvPr id="77826" name="Picture 2" descr="C:\Users\Ruth\Tara\IHR Website\Business Images\Free Business Images\Business People\dv2170013[1]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228600"/>
            <a:ext cx="8686800" cy="4028291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304800" y="2514600"/>
            <a:ext cx="1524000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600" b="1" dirty="0" smtClean="0">
                <a:solidFill>
                  <a:schemeClr val="bg1"/>
                </a:solidFill>
              </a:rPr>
              <a:t>01</a:t>
            </a:r>
            <a:endParaRPr lang="en-GB" sz="9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70" name="Picture 6" descr="C:\Users\Ruth\Tara\IHR Website\Business Images\Free Business Images\Business People\75676677[1]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211597"/>
            <a:ext cx="8686800" cy="4055603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4419600"/>
            <a:ext cx="8686800" cy="2079625"/>
          </a:xfrm>
          <a:solidFill>
            <a:srgbClr val="A50021"/>
          </a:solidFill>
          <a:ln>
            <a:solidFill>
              <a:srgbClr val="CC0000"/>
            </a:solidFill>
          </a:ln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</a:rPr>
              <a:t/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Design Considerations</a:t>
            </a:r>
            <a:endParaRPr lang="en-GB" dirty="0">
              <a:solidFill>
                <a:srgbClr val="FF9999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800" y="2590800"/>
            <a:ext cx="1524000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600" b="1" dirty="0" smtClean="0">
                <a:solidFill>
                  <a:schemeClr val="bg1"/>
                </a:solidFill>
              </a:rPr>
              <a:t>02</a:t>
            </a:r>
            <a:endParaRPr lang="en-GB" sz="9600" b="1" dirty="0">
              <a:solidFill>
                <a:schemeClr val="bg1"/>
              </a:solidFill>
            </a:endParaRPr>
          </a:p>
        </p:txBody>
      </p:sp>
      <p:sp>
        <p:nvSpPr>
          <p:cNvPr id="36866" name="AutoShape 2" descr="https://sitebuilder.homestead.com/~site/builder/filePreview/78289452.jpg"/>
          <p:cNvSpPr>
            <a:spLocks noChangeAspect="1" noChangeArrowheads="1"/>
          </p:cNvSpPr>
          <p:nvPr/>
        </p:nvSpPr>
        <p:spPr bwMode="auto">
          <a:xfrm>
            <a:off x="63500" y="-136525"/>
            <a:ext cx="3724275" cy="55816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868" name="AutoShape 4" descr="https://sitebuilder.homestead.com/~site/builder/filePreview/78289452.jpg"/>
          <p:cNvSpPr>
            <a:spLocks noChangeAspect="1" noChangeArrowheads="1"/>
          </p:cNvSpPr>
          <p:nvPr/>
        </p:nvSpPr>
        <p:spPr bwMode="auto">
          <a:xfrm>
            <a:off x="63500" y="-136525"/>
            <a:ext cx="3724275" cy="5581650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4419600"/>
            <a:ext cx="8686800" cy="2079625"/>
          </a:xfrm>
          <a:solidFill>
            <a:srgbClr val="A50021"/>
          </a:solidFill>
          <a:ln>
            <a:solidFill>
              <a:srgbClr val="CC0000"/>
            </a:solidFill>
          </a:ln>
        </p:spPr>
        <p:txBody>
          <a:bodyPr>
            <a:normAutofit/>
          </a:bodyPr>
          <a:lstStyle/>
          <a:p>
            <a:pPr algn="l"/>
            <a:r>
              <a:rPr lang="en-US" sz="3600" dirty="0">
                <a:solidFill>
                  <a:schemeClr val="bg1"/>
                </a:solidFill>
              </a:rPr>
              <a:t/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Our Approach</a:t>
            </a:r>
            <a:endParaRPr lang="en-GB" dirty="0">
              <a:solidFill>
                <a:srgbClr val="FF9999"/>
              </a:solidFill>
            </a:endParaRPr>
          </a:p>
        </p:txBody>
      </p:sp>
      <p:pic>
        <p:nvPicPr>
          <p:cNvPr id="24578" name="Picture 2" descr="C:\Users\Ruth\Tara\IHR Website\Free Business Images\Sports\Economy.jpg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262890"/>
            <a:ext cx="8686800" cy="3937635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228600" y="2667000"/>
            <a:ext cx="1524000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600" b="1" dirty="0" smtClean="0">
                <a:solidFill>
                  <a:schemeClr val="bg1"/>
                </a:solidFill>
              </a:rPr>
              <a:t>03</a:t>
            </a:r>
            <a:endParaRPr lang="en-GB" sz="9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4419600"/>
            <a:ext cx="8686800" cy="2079625"/>
          </a:xfrm>
          <a:solidFill>
            <a:srgbClr val="A50021"/>
          </a:solidFill>
          <a:ln>
            <a:solidFill>
              <a:srgbClr val="CC0000"/>
            </a:solidFill>
          </a:ln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solidFill>
                  <a:schemeClr val="bg1"/>
                </a:solidFill>
              </a:rPr>
              <a:t/>
            </a:r>
            <a:br>
              <a:rPr lang="en-US" sz="3600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Summary</a:t>
            </a:r>
            <a:endParaRPr lang="en-GB" dirty="0">
              <a:solidFill>
                <a:srgbClr val="FF9999"/>
              </a:solidFill>
            </a:endParaRPr>
          </a:p>
        </p:txBody>
      </p:sp>
      <p:pic>
        <p:nvPicPr>
          <p:cNvPr id="24578" name="Picture 2" descr="C:\Users\Ruth\Tara\IHR Website\Free Business Images\Sports\Economy.jpg"/>
          <p:cNvPicPr>
            <a:picLocks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262890"/>
            <a:ext cx="8686800" cy="3937635"/>
          </a:xfrm>
          <a:prstGeom prst="rect">
            <a:avLst/>
          </a:prstGeom>
          <a:noFill/>
        </p:spPr>
      </p:pic>
      <p:sp>
        <p:nvSpPr>
          <p:cNvPr id="6" name="TextBox 5"/>
          <p:cNvSpPr txBox="1"/>
          <p:nvPr/>
        </p:nvSpPr>
        <p:spPr>
          <a:xfrm>
            <a:off x="228600" y="2667000"/>
            <a:ext cx="1524000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600" b="1" dirty="0" smtClean="0">
                <a:solidFill>
                  <a:schemeClr val="bg1"/>
                </a:solidFill>
              </a:rPr>
              <a:t>06</a:t>
            </a:r>
            <a:endParaRPr lang="en-GB" sz="9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392668"/>
            <a:ext cx="8686800" cy="1241425"/>
          </a:xfrm>
          <a:solidFill>
            <a:srgbClr val="003366"/>
          </a:solidFill>
          <a:ln>
            <a:solidFill>
              <a:schemeClr val="tx2"/>
            </a:solidFill>
          </a:ln>
        </p:spPr>
        <p:txBody>
          <a:bodyPr/>
          <a:lstStyle/>
          <a:p>
            <a:pPr algn="l"/>
            <a:r>
              <a:rPr lang="en-US" dirty="0" smtClean="0">
                <a:solidFill>
                  <a:srgbClr val="FF9999"/>
                </a:solidFill>
              </a:rPr>
              <a:t>   </a:t>
            </a:r>
            <a:r>
              <a:rPr lang="en-US" sz="3600" dirty="0" smtClean="0">
                <a:solidFill>
                  <a:schemeClr val="bg1"/>
                </a:solidFill>
              </a:rPr>
              <a:t>Overview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28600" y="1611868"/>
            <a:ext cx="8686800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GB" b="1" dirty="0">
              <a:solidFill>
                <a:srgbClr val="003366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228600" y="6553200"/>
            <a:ext cx="8686800" cy="0"/>
          </a:xfrm>
          <a:prstGeom prst="line">
            <a:avLst/>
          </a:prstGeom>
          <a:ln w="25400" cmpd="sng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" descr="IHR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00784" y="288755"/>
            <a:ext cx="1190816" cy="88192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" name="Group 56"/>
          <p:cNvGrpSpPr/>
          <p:nvPr/>
        </p:nvGrpSpPr>
        <p:grpSpPr>
          <a:xfrm>
            <a:off x="304800" y="2286000"/>
            <a:ext cx="7696200" cy="523220"/>
            <a:chOff x="304800" y="2219980"/>
            <a:chExt cx="7696200" cy="523220"/>
          </a:xfrm>
        </p:grpSpPr>
        <p:grpSp>
          <p:nvGrpSpPr>
            <p:cNvPr id="4" name="Group 16"/>
            <p:cNvGrpSpPr/>
            <p:nvPr/>
          </p:nvGrpSpPr>
          <p:grpSpPr>
            <a:xfrm>
              <a:off x="304800" y="2286000"/>
              <a:ext cx="457200" cy="457200"/>
              <a:chOff x="533392" y="703050"/>
              <a:chExt cx="2743200" cy="4097552"/>
            </a:xfr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60" name="Rounded Rectangle 59"/>
              <p:cNvSpPr/>
              <p:nvPr/>
            </p:nvSpPr>
            <p:spPr>
              <a:xfrm>
                <a:off x="533392" y="703050"/>
                <a:ext cx="2743200" cy="4097552"/>
              </a:xfrm>
              <a:prstGeom prst="roundRect">
                <a:avLst/>
              </a:prstGeom>
              <a:grpFill/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1" name="Rounded Rectangle 4"/>
              <p:cNvSpPr/>
              <p:nvPr/>
            </p:nvSpPr>
            <p:spPr>
              <a:xfrm>
                <a:off x="761992" y="907928"/>
                <a:ext cx="2122714" cy="3209749"/>
              </a:xfrm>
              <a:prstGeom prst="rect">
                <a:avLst/>
              </a:prstGeom>
              <a:grpFill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1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</p:grpSp>
        <p:sp>
          <p:nvSpPr>
            <p:cNvPr id="59" name="TextBox 58"/>
            <p:cNvSpPr txBox="1"/>
            <p:nvPr/>
          </p:nvSpPr>
          <p:spPr>
            <a:xfrm>
              <a:off x="914400" y="2219980"/>
              <a:ext cx="70866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 smtClean="0">
                  <a:solidFill>
                    <a:srgbClr val="003366"/>
                  </a:solidFill>
                </a:rPr>
                <a:t>Business Context</a:t>
              </a:r>
              <a:endParaRPr lang="en-GB" sz="2800" dirty="0">
                <a:solidFill>
                  <a:srgbClr val="003366"/>
                </a:solidFill>
              </a:endParaRPr>
            </a:p>
          </p:txBody>
        </p:sp>
      </p:grpSp>
      <p:grpSp>
        <p:nvGrpSpPr>
          <p:cNvPr id="6" name="Group 61"/>
          <p:cNvGrpSpPr/>
          <p:nvPr/>
        </p:nvGrpSpPr>
        <p:grpSpPr>
          <a:xfrm>
            <a:off x="304800" y="2971800"/>
            <a:ext cx="7696200" cy="523220"/>
            <a:chOff x="304800" y="2219980"/>
            <a:chExt cx="7696200" cy="523220"/>
          </a:xfrm>
        </p:grpSpPr>
        <p:grpSp>
          <p:nvGrpSpPr>
            <p:cNvPr id="7" name="Group 16"/>
            <p:cNvGrpSpPr/>
            <p:nvPr/>
          </p:nvGrpSpPr>
          <p:grpSpPr>
            <a:xfrm>
              <a:off x="304800" y="2286000"/>
              <a:ext cx="457200" cy="457200"/>
              <a:chOff x="533392" y="703050"/>
              <a:chExt cx="2743200" cy="4097552"/>
            </a:xfr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65" name="Rounded Rectangle 64"/>
              <p:cNvSpPr/>
              <p:nvPr/>
            </p:nvSpPr>
            <p:spPr>
              <a:xfrm>
                <a:off x="533392" y="703050"/>
                <a:ext cx="2743200" cy="4097552"/>
              </a:xfrm>
              <a:prstGeom prst="roundRect">
                <a:avLst/>
              </a:prstGeom>
              <a:grpFill/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Rounded Rectangle 4"/>
              <p:cNvSpPr/>
              <p:nvPr/>
            </p:nvSpPr>
            <p:spPr>
              <a:xfrm>
                <a:off x="761992" y="907928"/>
                <a:ext cx="2122714" cy="3209749"/>
              </a:xfrm>
              <a:prstGeom prst="rect">
                <a:avLst/>
              </a:prstGeom>
              <a:grpFill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2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</p:grpSp>
        <p:sp>
          <p:nvSpPr>
            <p:cNvPr id="64" name="TextBox 63"/>
            <p:cNvSpPr txBox="1"/>
            <p:nvPr/>
          </p:nvSpPr>
          <p:spPr>
            <a:xfrm>
              <a:off x="914400" y="2219980"/>
              <a:ext cx="70866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indent="-571500">
                <a:spcBef>
                  <a:spcPct val="20000"/>
                </a:spcBef>
                <a:buClr>
                  <a:srgbClr val="B00D2C"/>
                </a:buClr>
              </a:pPr>
              <a:r>
                <a:rPr lang="en-GB" sz="2800" dirty="0" smtClean="0">
                  <a:solidFill>
                    <a:srgbClr val="003366"/>
                  </a:solidFill>
                </a:rPr>
                <a:t>HR’s Unique Contribution</a:t>
              </a:r>
            </a:p>
          </p:txBody>
        </p:sp>
      </p:grpSp>
      <p:grpSp>
        <p:nvGrpSpPr>
          <p:cNvPr id="8" name="Group 66"/>
          <p:cNvGrpSpPr/>
          <p:nvPr/>
        </p:nvGrpSpPr>
        <p:grpSpPr>
          <a:xfrm>
            <a:off x="304800" y="3657600"/>
            <a:ext cx="7696200" cy="523220"/>
            <a:chOff x="304800" y="2219980"/>
            <a:chExt cx="7696200" cy="523220"/>
          </a:xfrm>
        </p:grpSpPr>
        <p:grpSp>
          <p:nvGrpSpPr>
            <p:cNvPr id="10" name="Group 16"/>
            <p:cNvGrpSpPr/>
            <p:nvPr/>
          </p:nvGrpSpPr>
          <p:grpSpPr>
            <a:xfrm>
              <a:off x="304800" y="2286000"/>
              <a:ext cx="457200" cy="457200"/>
              <a:chOff x="533392" y="703050"/>
              <a:chExt cx="2743200" cy="4097552"/>
            </a:xfr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70" name="Rounded Rectangle 69"/>
              <p:cNvSpPr/>
              <p:nvPr/>
            </p:nvSpPr>
            <p:spPr>
              <a:xfrm>
                <a:off x="533392" y="703050"/>
                <a:ext cx="2743200" cy="4097552"/>
              </a:xfrm>
              <a:prstGeom prst="roundRect">
                <a:avLst/>
              </a:prstGeom>
              <a:grpFill/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1" name="Rounded Rectangle 4"/>
              <p:cNvSpPr/>
              <p:nvPr/>
            </p:nvSpPr>
            <p:spPr>
              <a:xfrm>
                <a:off x="761992" y="907928"/>
                <a:ext cx="2122714" cy="3209749"/>
              </a:xfrm>
              <a:prstGeom prst="rect">
                <a:avLst/>
              </a:prstGeom>
              <a:grpFill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3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</p:grpSp>
        <p:sp>
          <p:nvSpPr>
            <p:cNvPr id="69" name="TextBox 68"/>
            <p:cNvSpPr txBox="1"/>
            <p:nvPr/>
          </p:nvSpPr>
          <p:spPr>
            <a:xfrm>
              <a:off x="914400" y="2219980"/>
              <a:ext cx="70866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indent="-571500">
                <a:spcBef>
                  <a:spcPct val="20000"/>
                </a:spcBef>
                <a:buClr>
                  <a:srgbClr val="B00D2C"/>
                </a:buClr>
              </a:pPr>
              <a:r>
                <a:rPr lang="en-GB" sz="2800" dirty="0" smtClean="0">
                  <a:solidFill>
                    <a:srgbClr val="003366"/>
                  </a:solidFill>
                </a:rPr>
                <a:t>Firm Overview &amp; Services</a:t>
              </a:r>
            </a:p>
          </p:txBody>
        </p:sp>
      </p:grpSp>
      <p:grpSp>
        <p:nvGrpSpPr>
          <p:cNvPr id="11" name="Group 71"/>
          <p:cNvGrpSpPr/>
          <p:nvPr/>
        </p:nvGrpSpPr>
        <p:grpSpPr>
          <a:xfrm>
            <a:off x="304800" y="4343400"/>
            <a:ext cx="7696200" cy="523220"/>
            <a:chOff x="304800" y="2219980"/>
            <a:chExt cx="7696200" cy="523220"/>
          </a:xfrm>
        </p:grpSpPr>
        <p:grpSp>
          <p:nvGrpSpPr>
            <p:cNvPr id="12" name="Group 16"/>
            <p:cNvGrpSpPr/>
            <p:nvPr/>
          </p:nvGrpSpPr>
          <p:grpSpPr>
            <a:xfrm>
              <a:off x="304800" y="2286000"/>
              <a:ext cx="457200" cy="457200"/>
              <a:chOff x="533392" y="703050"/>
              <a:chExt cx="2743200" cy="4097552"/>
            </a:xfr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75" name="Rounded Rectangle 74"/>
              <p:cNvSpPr/>
              <p:nvPr/>
            </p:nvSpPr>
            <p:spPr>
              <a:xfrm>
                <a:off x="533392" y="703050"/>
                <a:ext cx="2743200" cy="4097552"/>
              </a:xfrm>
              <a:prstGeom prst="roundRect">
                <a:avLst/>
              </a:prstGeom>
              <a:grpFill/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6" name="Rounded Rectangle 4"/>
              <p:cNvSpPr/>
              <p:nvPr/>
            </p:nvSpPr>
            <p:spPr>
              <a:xfrm>
                <a:off x="761992" y="907928"/>
                <a:ext cx="2122714" cy="3209749"/>
              </a:xfrm>
              <a:prstGeom prst="rect">
                <a:avLst/>
              </a:prstGeom>
              <a:grpFill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4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</p:grpSp>
        <p:sp>
          <p:nvSpPr>
            <p:cNvPr id="74" name="TextBox 73"/>
            <p:cNvSpPr txBox="1"/>
            <p:nvPr/>
          </p:nvSpPr>
          <p:spPr>
            <a:xfrm>
              <a:off x="914400" y="2219980"/>
              <a:ext cx="70866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indent="-571500">
                <a:spcBef>
                  <a:spcPct val="20000"/>
                </a:spcBef>
                <a:buClr>
                  <a:srgbClr val="B00D2C"/>
                </a:buClr>
              </a:pPr>
              <a:r>
                <a:rPr lang="en-GB" sz="2800" dirty="0" smtClean="0">
                  <a:solidFill>
                    <a:srgbClr val="003366"/>
                  </a:solidFill>
                </a:rPr>
                <a:t>Sample Client Assignments</a:t>
              </a:r>
            </a:p>
          </p:txBody>
        </p:sp>
      </p:grpSp>
      <p:grpSp>
        <p:nvGrpSpPr>
          <p:cNvPr id="13" name="Group 76"/>
          <p:cNvGrpSpPr/>
          <p:nvPr/>
        </p:nvGrpSpPr>
        <p:grpSpPr>
          <a:xfrm>
            <a:off x="304800" y="5029200"/>
            <a:ext cx="7696200" cy="523220"/>
            <a:chOff x="304800" y="2219980"/>
            <a:chExt cx="7696200" cy="523220"/>
          </a:xfrm>
        </p:grpSpPr>
        <p:grpSp>
          <p:nvGrpSpPr>
            <p:cNvPr id="14" name="Group 16"/>
            <p:cNvGrpSpPr/>
            <p:nvPr/>
          </p:nvGrpSpPr>
          <p:grpSpPr>
            <a:xfrm>
              <a:off x="304800" y="2286000"/>
              <a:ext cx="457200" cy="457200"/>
              <a:chOff x="533392" y="703050"/>
              <a:chExt cx="2743200" cy="4097552"/>
            </a:xfr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80" name="Rounded Rectangle 79"/>
              <p:cNvSpPr/>
              <p:nvPr/>
            </p:nvSpPr>
            <p:spPr>
              <a:xfrm>
                <a:off x="533392" y="703050"/>
                <a:ext cx="2743200" cy="4097552"/>
              </a:xfrm>
              <a:prstGeom prst="roundRect">
                <a:avLst/>
              </a:prstGeom>
              <a:grpFill/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1" name="Rounded Rectangle 4"/>
              <p:cNvSpPr/>
              <p:nvPr/>
            </p:nvSpPr>
            <p:spPr>
              <a:xfrm>
                <a:off x="761992" y="907928"/>
                <a:ext cx="2122714" cy="3209749"/>
              </a:xfrm>
              <a:prstGeom prst="rect">
                <a:avLst/>
              </a:prstGeom>
              <a:grpFill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5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</p:grpSp>
        <p:sp>
          <p:nvSpPr>
            <p:cNvPr id="79" name="TextBox 78"/>
            <p:cNvSpPr txBox="1"/>
            <p:nvPr/>
          </p:nvSpPr>
          <p:spPr>
            <a:xfrm>
              <a:off x="914400" y="2219980"/>
              <a:ext cx="70866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indent="-571500">
                <a:spcBef>
                  <a:spcPct val="20000"/>
                </a:spcBef>
                <a:buClr>
                  <a:srgbClr val="B00D2C"/>
                </a:buClr>
              </a:pPr>
              <a:r>
                <a:rPr lang="en-GB" sz="2800" dirty="0" smtClean="0">
                  <a:solidFill>
                    <a:srgbClr val="003366"/>
                  </a:solidFill>
                </a:rPr>
                <a:t>What Makes Us Different?</a:t>
              </a:r>
            </a:p>
          </p:txBody>
        </p:sp>
      </p:grpSp>
      <p:grpSp>
        <p:nvGrpSpPr>
          <p:cNvPr id="15" name="Group 81"/>
          <p:cNvGrpSpPr/>
          <p:nvPr/>
        </p:nvGrpSpPr>
        <p:grpSpPr>
          <a:xfrm>
            <a:off x="304800" y="5715000"/>
            <a:ext cx="7696200" cy="523220"/>
            <a:chOff x="304800" y="2219980"/>
            <a:chExt cx="7696200" cy="523220"/>
          </a:xfrm>
        </p:grpSpPr>
        <p:grpSp>
          <p:nvGrpSpPr>
            <p:cNvPr id="16" name="Group 16"/>
            <p:cNvGrpSpPr/>
            <p:nvPr/>
          </p:nvGrpSpPr>
          <p:grpSpPr>
            <a:xfrm>
              <a:off x="304800" y="2286000"/>
              <a:ext cx="457200" cy="457200"/>
              <a:chOff x="533392" y="703050"/>
              <a:chExt cx="2743200" cy="4097552"/>
            </a:xfr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85" name="Rounded Rectangle 84"/>
              <p:cNvSpPr/>
              <p:nvPr/>
            </p:nvSpPr>
            <p:spPr>
              <a:xfrm>
                <a:off x="533392" y="703050"/>
                <a:ext cx="2743200" cy="4097552"/>
              </a:xfrm>
              <a:prstGeom prst="roundRect">
                <a:avLst/>
              </a:prstGeom>
              <a:grpFill/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6" name="Rounded Rectangle 4"/>
              <p:cNvSpPr/>
              <p:nvPr/>
            </p:nvSpPr>
            <p:spPr>
              <a:xfrm>
                <a:off x="761992" y="907928"/>
                <a:ext cx="2122714" cy="3209749"/>
              </a:xfrm>
              <a:prstGeom prst="rect">
                <a:avLst/>
              </a:prstGeom>
              <a:grpFill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76200" tIns="76200" rIns="76200" bIns="76200" numCol="1" spcCol="1270" anchor="ctr" anchorCtr="0">
                <a:noAutofit/>
              </a:bodyPr>
              <a:lstStyle/>
              <a:p>
                <a:pPr algn="ctr"/>
                <a:r>
                  <a:rPr lang="en-US" sz="2400" b="1" dirty="0" smtClean="0"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/>
                      </a:outerShdw>
                    </a:effectLst>
                  </a:rPr>
                  <a:t>6</a:t>
                </a:r>
                <a:endParaRPr lang="en-US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/>
                    </a:outerShdw>
                  </a:effectLst>
                </a:endParaRPr>
              </a:p>
            </p:txBody>
          </p:sp>
        </p:grpSp>
        <p:sp>
          <p:nvSpPr>
            <p:cNvPr id="84" name="TextBox 83"/>
            <p:cNvSpPr txBox="1"/>
            <p:nvPr/>
          </p:nvSpPr>
          <p:spPr>
            <a:xfrm>
              <a:off x="914400" y="2219980"/>
              <a:ext cx="7086600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 smtClean="0">
                  <a:solidFill>
                    <a:srgbClr val="003366"/>
                  </a:solidFill>
                </a:rPr>
                <a:t>Summary</a:t>
              </a:r>
              <a:endParaRPr lang="en-GB" sz="2800" dirty="0">
                <a:solidFill>
                  <a:srgbClr val="003366"/>
                </a:solidFill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754" name="Picture 2" descr="C:\Users\Ruth\Tara\IHR Website\Business Images\Free Business Images\Business People\HS Business Questions Great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8600" y="152400"/>
            <a:ext cx="8686800" cy="4066807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28600" y="4419600"/>
            <a:ext cx="8686800" cy="2079625"/>
          </a:xfrm>
          <a:solidFill>
            <a:srgbClr val="A50021"/>
          </a:solidFill>
          <a:ln>
            <a:solidFill>
              <a:srgbClr val="CC0000"/>
            </a:solidFill>
          </a:ln>
        </p:spPr>
        <p:txBody>
          <a:bodyPr>
            <a:normAutofit/>
          </a:bodyPr>
          <a:lstStyle/>
          <a:p>
            <a:pPr algn="l"/>
            <a:r>
              <a:rPr lang="en-US" sz="3600" dirty="0" smtClean="0">
                <a:solidFill>
                  <a:schemeClr val="bg1"/>
                </a:solidFill>
              </a:rPr>
              <a:t/>
            </a:r>
            <a:br>
              <a:rPr lang="en-US" sz="3600" dirty="0" smtClean="0">
                <a:solidFill>
                  <a:schemeClr val="bg1"/>
                </a:solidFill>
              </a:rPr>
            </a:br>
            <a:r>
              <a:rPr lang="en-US" dirty="0" smtClean="0">
                <a:solidFill>
                  <a:schemeClr val="bg1"/>
                </a:solidFill>
              </a:rPr>
              <a:t>Questions</a:t>
            </a:r>
            <a:endParaRPr lang="en-GB" dirty="0">
              <a:solidFill>
                <a:srgbClr val="FF9999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4800" y="2362200"/>
            <a:ext cx="1524000" cy="156966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9600" b="1" dirty="0" smtClean="0">
                <a:solidFill>
                  <a:schemeClr val="bg1"/>
                </a:solidFill>
              </a:rPr>
              <a:t>01</a:t>
            </a:r>
            <a:endParaRPr lang="en-GB" sz="96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28600" y="316468"/>
            <a:ext cx="8686800" cy="1241425"/>
          </a:xfrm>
          <a:prstGeom prst="rect">
            <a:avLst/>
          </a:prstGeom>
          <a:solidFill>
            <a:srgbClr val="003366"/>
          </a:solidFill>
          <a:ln>
            <a:solidFill>
              <a:schemeClr val="tx2"/>
            </a:solidFill>
          </a:ln>
        </p:spPr>
        <p:txBody>
          <a:bodyPr vert="horz" lIns="91440" tIns="45720" rIns="91440" bIns="45720" rtlCol="0" anchor="ctr">
            <a:normAutofit fontScale="92500" lnSpcReduction="20000"/>
          </a:bodyPr>
          <a:lstStyle/>
          <a:p>
            <a:pPr lvl="0">
              <a:spcBef>
                <a:spcPct val="0"/>
              </a:spcBef>
              <a:defRPr/>
            </a:pPr>
            <a:r>
              <a:rPr lang="en-US" sz="6000" dirty="0" smtClean="0">
                <a:solidFill>
                  <a:schemeClr val="bg1"/>
                </a:solidFill>
              </a:rPr>
              <a:t>Business Context</a:t>
            </a:r>
            <a:r>
              <a:rPr lang="en-US" sz="4400" dirty="0" smtClean="0">
                <a:solidFill>
                  <a:schemeClr val="bg1"/>
                </a:solidFill>
              </a:rPr>
              <a:t/>
            </a:r>
            <a:br>
              <a:rPr lang="en-US" sz="4400" dirty="0" smtClean="0">
                <a:solidFill>
                  <a:schemeClr val="bg1"/>
                </a:solidFill>
              </a:rPr>
            </a:br>
            <a:r>
              <a:rPr lang="en-GB" sz="3500" dirty="0" smtClean="0">
                <a:solidFill>
                  <a:schemeClr val="bg1"/>
                </a:solidFill>
              </a:rPr>
              <a:t>- New Landscape &amp; Challenges</a:t>
            </a:r>
            <a:endParaRPr lang="en-GB" sz="4400" dirty="0" smtClean="0">
              <a:solidFill>
                <a:schemeClr val="bg1"/>
              </a:solidFill>
            </a:endParaRPr>
          </a:p>
        </p:txBody>
      </p:sp>
      <p:pic>
        <p:nvPicPr>
          <p:cNvPr id="8" name="Picture 3" descr="IHR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00784" y="228600"/>
            <a:ext cx="1190816" cy="88192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Group 52"/>
          <p:cNvGrpSpPr/>
          <p:nvPr/>
        </p:nvGrpSpPr>
        <p:grpSpPr>
          <a:xfrm>
            <a:off x="1295400" y="2057400"/>
            <a:ext cx="3200400" cy="4343400"/>
            <a:chOff x="3048000" y="2491765"/>
            <a:chExt cx="1905000" cy="3627101"/>
          </a:xfrm>
        </p:grpSpPr>
        <p:sp>
          <p:nvSpPr>
            <p:cNvPr id="16" name="Rounded Rectangle 15"/>
            <p:cNvSpPr/>
            <p:nvPr/>
          </p:nvSpPr>
          <p:spPr>
            <a:xfrm>
              <a:off x="3048000" y="2670148"/>
              <a:ext cx="1905000" cy="3448718"/>
            </a:xfrm>
            <a:prstGeom prst="roundRect">
              <a:avLst/>
            </a:prstGeo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  <a:bevelB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Rounded Rectangle 4"/>
            <p:cNvSpPr/>
            <p:nvPr/>
          </p:nvSpPr>
          <p:spPr>
            <a:xfrm>
              <a:off x="3229429" y="2983575"/>
              <a:ext cx="1672680" cy="2792636"/>
            </a:xfrm>
            <a:prstGeom prst="rect">
              <a:avLst/>
            </a:prstGeo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t" anchorCtr="0">
              <a:noAutofit/>
            </a:bodyPr>
            <a:lstStyle/>
            <a:p>
              <a:pPr lvl="0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Font typeface="Arial" pitchFamily="34" charset="0"/>
                <a:buChar char="•"/>
              </a:pPr>
              <a:endParaRPr lang="en-US" sz="1600" b="1" kern="1200" dirty="0" smtClean="0"/>
            </a:p>
            <a:p>
              <a:pPr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US" sz="1600" b="1" dirty="0" smtClean="0"/>
                <a:t> 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Growing Competition –</a:t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    pressure on margins</a:t>
              </a:r>
            </a:p>
            <a:p>
              <a:pPr>
                <a:buClr>
                  <a:schemeClr val="bg1"/>
                </a:buClr>
                <a:buFont typeface="Wingdings" pitchFamily="2" charset="2"/>
                <a:buChar char="§"/>
              </a:pPr>
              <a:endParaRPr lang="en-GB" sz="1600" b="1" dirty="0" smtClean="0">
                <a:solidFill>
                  <a:schemeClr val="bg1"/>
                </a:solidFill>
              </a:endParaRPr>
            </a:p>
            <a:p>
              <a:pPr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GB" sz="16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Increasing Customer</a:t>
              </a:r>
              <a:br>
                <a:rPr lang="en-US" sz="1600" b="1" dirty="0" smtClean="0">
                  <a:solidFill>
                    <a:schemeClr val="bg1"/>
                  </a:solidFill>
                </a:rPr>
              </a:br>
              <a:r>
                <a:rPr lang="en-US" sz="1600" b="1" dirty="0" smtClean="0">
                  <a:solidFill>
                    <a:schemeClr val="bg1"/>
                  </a:solidFill>
                </a:rPr>
                <a:t>   Expectations - Value &amp;</a:t>
              </a:r>
              <a:br>
                <a:rPr lang="en-US" sz="1600" b="1" dirty="0" smtClean="0">
                  <a:solidFill>
                    <a:schemeClr val="bg1"/>
                  </a:solidFill>
                </a:rPr>
              </a:br>
              <a:r>
                <a:rPr lang="en-US" sz="1600" b="1" dirty="0" smtClean="0">
                  <a:solidFill>
                    <a:schemeClr val="bg1"/>
                  </a:solidFill>
                </a:rPr>
                <a:t>   Quality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endParaRPr lang="en-US" sz="1600" b="1" dirty="0" smtClean="0">
                <a:solidFill>
                  <a:schemeClr val="bg1"/>
                </a:solidFill>
              </a:endParaRPr>
            </a:p>
            <a:p>
              <a:pPr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US" sz="1600" b="1" dirty="0" smtClean="0">
                  <a:solidFill>
                    <a:schemeClr val="bg1"/>
                  </a:solidFill>
                </a:rPr>
                <a:t> Investor Expectations</a:t>
              </a:r>
              <a:br>
                <a:rPr lang="en-US" sz="1600" b="1" dirty="0" smtClean="0">
                  <a:solidFill>
                    <a:schemeClr val="bg1"/>
                  </a:solidFill>
                </a:rPr>
              </a:br>
              <a:r>
                <a:rPr lang="en-US" sz="1600" b="1" dirty="0" smtClean="0">
                  <a:solidFill>
                    <a:schemeClr val="bg1"/>
                  </a:solidFill>
                </a:rPr>
                <a:t>   –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increasing Profits, EPS, etc.</a:t>
              </a:r>
            </a:p>
            <a:p>
              <a:pPr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endParaRPr lang="en-GB" sz="1600" b="1" dirty="0" smtClean="0">
                <a:solidFill>
                  <a:schemeClr val="bg1"/>
                </a:solidFill>
              </a:endParaRPr>
            </a:p>
            <a:p>
              <a:pPr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GB" sz="1600" b="1" dirty="0" smtClean="0">
                  <a:solidFill>
                    <a:schemeClr val="bg1"/>
                  </a:solidFill>
                </a:rPr>
                <a:t> </a:t>
              </a:r>
              <a:r>
                <a:rPr lang="en-US" sz="1600" b="1" dirty="0" smtClean="0">
                  <a:solidFill>
                    <a:schemeClr val="bg1"/>
                  </a:solidFill>
                </a:rPr>
                <a:t>People Investment –</a:t>
              </a:r>
              <a:br>
                <a:rPr lang="en-US" sz="1600" b="1" dirty="0" smtClean="0">
                  <a:solidFill>
                    <a:schemeClr val="bg1"/>
                  </a:solidFill>
                </a:rPr>
              </a:br>
              <a:r>
                <a:rPr lang="en-US" sz="1600" b="1" dirty="0" smtClean="0">
                  <a:solidFill>
                    <a:schemeClr val="bg1"/>
                  </a:solidFill>
                </a:rPr>
                <a:t>   maximising return on</a:t>
              </a:r>
              <a:br>
                <a:rPr lang="en-US" sz="1600" b="1" dirty="0" smtClean="0">
                  <a:solidFill>
                    <a:schemeClr val="bg1"/>
                  </a:solidFill>
                </a:rPr>
              </a:br>
              <a:r>
                <a:rPr lang="en-US" sz="1600" b="1" dirty="0" smtClean="0">
                  <a:solidFill>
                    <a:schemeClr val="bg1"/>
                  </a:solidFill>
                </a:rPr>
                <a:t>   investments</a:t>
              </a:r>
              <a:endParaRPr lang="en-GB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3" name="Rounded Rectangle 22"/>
            <p:cNvSpPr/>
            <p:nvPr/>
          </p:nvSpPr>
          <p:spPr>
            <a:xfrm>
              <a:off x="3048000" y="2491765"/>
              <a:ext cx="1905000" cy="654067"/>
            </a:xfrm>
            <a:prstGeom prst="roundRect">
              <a:avLst/>
            </a:prstGeom>
            <a:solidFill>
              <a:srgbClr val="003366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2400" b="1" dirty="0" smtClean="0"/>
                <a:t>Traditional Drivers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3048000" y="3026911"/>
              <a:ext cx="1905000" cy="149155"/>
            </a:xfrm>
            <a:prstGeom prst="rect">
              <a:avLst/>
            </a:prstGeom>
            <a:solidFill>
              <a:srgbClr val="00336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/>
            </a:p>
          </p:txBody>
        </p:sp>
      </p:grpSp>
      <p:grpSp>
        <p:nvGrpSpPr>
          <p:cNvPr id="3" name="Group 52"/>
          <p:cNvGrpSpPr/>
          <p:nvPr/>
        </p:nvGrpSpPr>
        <p:grpSpPr>
          <a:xfrm>
            <a:off x="4648200" y="2057402"/>
            <a:ext cx="3200400" cy="4343398"/>
            <a:chOff x="3048000" y="2491765"/>
            <a:chExt cx="1905000" cy="3627101"/>
          </a:xfrm>
        </p:grpSpPr>
        <p:sp>
          <p:nvSpPr>
            <p:cNvPr id="27" name="Rounded Rectangle 26"/>
            <p:cNvSpPr/>
            <p:nvPr/>
          </p:nvSpPr>
          <p:spPr>
            <a:xfrm>
              <a:off x="3048000" y="2670148"/>
              <a:ext cx="1905000" cy="3448718"/>
            </a:xfrm>
            <a:prstGeom prst="roundRect">
              <a:avLst/>
            </a:prstGeo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  <a:bevelB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4"/>
            <p:cNvSpPr/>
            <p:nvPr/>
          </p:nvSpPr>
          <p:spPr>
            <a:xfrm>
              <a:off x="3248526" y="3045050"/>
              <a:ext cx="1613760" cy="2946550"/>
            </a:xfrm>
            <a:prstGeom prst="rect">
              <a:avLst/>
            </a:prstGeo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indent="-88900"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US" sz="1600" b="1" dirty="0" smtClean="0">
                  <a:solidFill>
                    <a:schemeClr val="bg1"/>
                  </a:solidFill>
                </a:rPr>
                <a:t>  </a:t>
              </a:r>
              <a:r>
                <a:rPr lang="en-GB" sz="1600" b="1" dirty="0" smtClean="0">
                  <a:solidFill>
                    <a:schemeClr val="bg1"/>
                  </a:solidFill>
                </a:rPr>
                <a:t>Global downturn impacting </a:t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    Irish economy </a:t>
              </a:r>
            </a:p>
            <a:p>
              <a:pPr indent="-88900"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endParaRPr lang="en-GB" sz="1600" b="1" dirty="0" smtClean="0">
                <a:solidFill>
                  <a:schemeClr val="bg1"/>
                </a:solidFill>
              </a:endParaRPr>
            </a:p>
            <a:p>
              <a:pPr indent="-88900"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GB" sz="1600" b="1" dirty="0" smtClean="0">
                  <a:solidFill>
                    <a:schemeClr val="bg1"/>
                  </a:solidFill>
                </a:rPr>
                <a:t> Record deficit, rising</a:t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   unemployment  – need for</a:t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   international bailout</a:t>
              </a:r>
            </a:p>
            <a:p>
              <a:pPr indent="-88900"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endParaRPr lang="en-GB" sz="1600" b="1" dirty="0" smtClean="0">
                <a:solidFill>
                  <a:schemeClr val="bg1"/>
                </a:solidFill>
              </a:endParaRPr>
            </a:p>
            <a:p>
              <a:pPr indent="-88900"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GB" sz="1600" b="1" dirty="0" smtClean="0">
                  <a:solidFill>
                    <a:schemeClr val="bg1"/>
                  </a:solidFill>
                </a:rPr>
                <a:t> Banking Crisis – loss of</a:t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   confidence, erosion of</a:t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   shareholder value</a:t>
              </a:r>
            </a:p>
            <a:p>
              <a:pPr indent="-88900"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endParaRPr lang="en-GB" sz="1600" b="1" dirty="0" smtClean="0">
                <a:solidFill>
                  <a:schemeClr val="bg1"/>
                </a:solidFill>
              </a:endParaRPr>
            </a:p>
            <a:p>
              <a:pPr indent="-88900">
                <a:lnSpc>
                  <a:spcPct val="80000"/>
                </a:lnSpc>
                <a:spcBef>
                  <a:spcPct val="20000"/>
                </a:spcBef>
                <a:buClr>
                  <a:schemeClr val="bg1"/>
                </a:buClr>
                <a:buFont typeface="Wingdings" pitchFamily="2" charset="2"/>
                <a:buChar char="§"/>
              </a:pPr>
              <a:r>
                <a:rPr lang="en-GB" sz="1600" b="1" dirty="0" smtClean="0">
                  <a:solidFill>
                    <a:schemeClr val="bg1"/>
                  </a:solidFill>
                </a:rPr>
                <a:t> Need to align Staff Costs</a:t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   with falling revenues while</a:t>
              </a:r>
              <a:br>
                <a:rPr lang="en-GB" sz="1600" b="1" dirty="0" smtClean="0">
                  <a:solidFill>
                    <a:schemeClr val="bg1"/>
                  </a:solidFill>
                </a:rPr>
              </a:br>
              <a:r>
                <a:rPr lang="en-GB" sz="1600" b="1" dirty="0" smtClean="0">
                  <a:solidFill>
                    <a:schemeClr val="bg1"/>
                  </a:solidFill>
                </a:rPr>
                <a:t>   engaging with staff</a:t>
              </a:r>
              <a:endParaRPr lang="en-US" sz="16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3048000" y="2491765"/>
              <a:ext cx="1905000" cy="654067"/>
            </a:xfrm>
            <a:prstGeom prst="roundRect">
              <a:avLst/>
            </a:prstGeom>
            <a:solidFill>
              <a:srgbClr val="003366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pPr algn="ctr"/>
              <a:r>
                <a:rPr lang="en-US" sz="2400" b="1" dirty="0" smtClean="0"/>
                <a:t>Recent Drivers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3048000" y="3026911"/>
              <a:ext cx="1905000" cy="149155"/>
            </a:xfrm>
            <a:prstGeom prst="rect">
              <a:avLst/>
            </a:prstGeom>
            <a:solidFill>
              <a:srgbClr val="003366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4038600" y="3733800"/>
            <a:ext cx="1066800" cy="914400"/>
            <a:chOff x="240399" y="0"/>
            <a:chExt cx="1175656" cy="1175656"/>
          </a:xfrm>
          <a:solidFill>
            <a:srgbClr val="003366"/>
          </a:solidFill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9" name="Oval 18"/>
            <p:cNvSpPr/>
            <p:nvPr/>
          </p:nvSpPr>
          <p:spPr>
            <a:xfrm>
              <a:off x="240399" y="0"/>
              <a:ext cx="1175656" cy="1175656"/>
            </a:xfrm>
            <a:prstGeom prst="ellipse">
              <a:avLst/>
            </a:prstGeom>
            <a:grpFill/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20" name="Oval 4"/>
            <p:cNvSpPr/>
            <p:nvPr/>
          </p:nvSpPr>
          <p:spPr>
            <a:xfrm>
              <a:off x="357965" y="345232"/>
              <a:ext cx="990025" cy="503853"/>
            </a:xfrm>
            <a:prstGeom prst="rect">
              <a:avLst/>
            </a:prstGeom>
            <a:grpFill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19050" tIns="19050" rIns="19050" bIns="19050" numCol="1" spcCol="1270" anchor="ctr" anchorCtr="0">
              <a:noAutofit/>
            </a:bodyPr>
            <a:lstStyle/>
            <a:p>
              <a:pPr lvl="0" algn="ctr" defTabSz="6667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100" b="1" kern="1200" dirty="0" smtClean="0">
                  <a:solidFill>
                    <a:schemeClr val="bg1"/>
                  </a:solidFill>
                  <a:latin typeface="+mj-lt"/>
                </a:rPr>
                <a:t>STRATEGIC CHALLENGES</a:t>
              </a:r>
              <a:endParaRPr lang="en-GB" sz="1100" b="1" kern="1200" dirty="0">
                <a:solidFill>
                  <a:schemeClr val="bg1"/>
                </a:solidFill>
                <a:latin typeface="+mj-lt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HR’s Unique Contributi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6B837C-C08E-49B0-B3E7-87AD7D6B3276}" type="slidenum">
              <a:rPr lang="en-US"/>
              <a:pPr/>
              <a:t>4</a:t>
            </a:fld>
            <a:endParaRPr lang="en-US"/>
          </a:p>
        </p:txBody>
      </p:sp>
      <p:sp>
        <p:nvSpPr>
          <p:cNvPr id="12144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2057400"/>
            <a:ext cx="8610600" cy="4494213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en-GB" sz="2800" dirty="0"/>
              <a:t>HR Strategy &amp; Programmes</a:t>
            </a:r>
            <a:r>
              <a:rPr lang="en-GB" sz="2000" dirty="0"/>
              <a:t> </a:t>
            </a:r>
            <a:r>
              <a:rPr lang="en-GB" sz="2800" dirty="0"/>
              <a:t>drive</a:t>
            </a:r>
            <a:r>
              <a:rPr lang="en-GB" sz="2000" dirty="0"/>
              <a:t> </a:t>
            </a:r>
            <a:r>
              <a:rPr lang="en-GB" sz="2800" dirty="0"/>
              <a:t>Business Success</a:t>
            </a:r>
            <a:endParaRPr lang="en-GB" sz="2000" dirty="0"/>
          </a:p>
          <a:p>
            <a:pPr>
              <a:lnSpc>
                <a:spcPct val="90000"/>
              </a:lnSpc>
            </a:pPr>
            <a:r>
              <a:rPr lang="en-GB" sz="2000" b="1" dirty="0"/>
              <a:t>Human Resources Strategy</a:t>
            </a:r>
            <a:r>
              <a:rPr lang="en-GB" sz="2000" dirty="0"/>
              <a:t> . . . </a:t>
            </a:r>
            <a:r>
              <a:rPr lang="en-GB" sz="2000" i="1" dirty="0"/>
              <a:t>the right People Plan</a:t>
            </a:r>
          </a:p>
          <a:p>
            <a:pPr lvl="1">
              <a:lnSpc>
                <a:spcPct val="90000"/>
              </a:lnSpc>
            </a:pPr>
            <a:r>
              <a:rPr lang="en-IE" sz="1800" dirty="0"/>
              <a:t>An integrated approach to sourcing, managing, developing and </a:t>
            </a:r>
          </a:p>
          <a:p>
            <a:pPr lvl="1">
              <a:lnSpc>
                <a:spcPct val="90000"/>
              </a:lnSpc>
              <a:buFont typeface="Wingdings" pitchFamily="2" charset="2"/>
              <a:buNone/>
            </a:pPr>
            <a:r>
              <a:rPr lang="en-IE" sz="1800" dirty="0"/>
              <a:t>	rewarding staff based on the specific needs of the business</a:t>
            </a:r>
            <a:endParaRPr lang="en-GB" sz="1800" dirty="0"/>
          </a:p>
          <a:p>
            <a:pPr>
              <a:lnSpc>
                <a:spcPct val="90000"/>
              </a:lnSpc>
            </a:pPr>
            <a:r>
              <a:rPr lang="en-GB" sz="2000" b="1" dirty="0"/>
              <a:t>Organisation Design</a:t>
            </a:r>
            <a:r>
              <a:rPr lang="en-GB" sz="2000" dirty="0"/>
              <a:t> . . . </a:t>
            </a:r>
            <a:r>
              <a:rPr lang="en-GB" sz="2000" i="1" dirty="0"/>
              <a:t>the optimal Organisation Structure</a:t>
            </a:r>
          </a:p>
          <a:p>
            <a:pPr lvl="1">
              <a:lnSpc>
                <a:spcPct val="90000"/>
              </a:lnSpc>
            </a:pPr>
            <a:r>
              <a:rPr lang="en-IE" sz="1800" dirty="0"/>
              <a:t>Definition of Role Families and Roles linked to business needs</a:t>
            </a:r>
            <a:endParaRPr lang="en-GB" sz="1800" dirty="0"/>
          </a:p>
          <a:p>
            <a:pPr>
              <a:lnSpc>
                <a:spcPct val="90000"/>
              </a:lnSpc>
            </a:pPr>
            <a:r>
              <a:rPr lang="en-GB" sz="2000" b="1" dirty="0"/>
              <a:t>Strategic Alignment</a:t>
            </a:r>
            <a:r>
              <a:rPr lang="en-GB" sz="2000" dirty="0"/>
              <a:t>. . . </a:t>
            </a:r>
            <a:r>
              <a:rPr lang="en-GB" sz="2000" i="1" dirty="0"/>
              <a:t>the achievement of Business Results</a:t>
            </a:r>
          </a:p>
          <a:p>
            <a:pPr lvl="1">
              <a:lnSpc>
                <a:spcPct val="90000"/>
              </a:lnSpc>
            </a:pPr>
            <a:r>
              <a:rPr lang="en-IE" sz="1800" dirty="0"/>
              <a:t>Aligning organisational goals to individual performance objectives</a:t>
            </a:r>
            <a:endParaRPr lang="en-GB" sz="1800" dirty="0"/>
          </a:p>
          <a:p>
            <a:pPr>
              <a:lnSpc>
                <a:spcPct val="90000"/>
              </a:lnSpc>
            </a:pPr>
            <a:r>
              <a:rPr lang="en-GB" sz="2000" b="1" dirty="0"/>
              <a:t>Capability</a:t>
            </a:r>
            <a:r>
              <a:rPr lang="en-GB" sz="2000" dirty="0"/>
              <a:t> . . . </a:t>
            </a:r>
            <a:r>
              <a:rPr lang="en-GB" sz="2000" i="1" dirty="0"/>
              <a:t>the right People/Skills/Places</a:t>
            </a:r>
          </a:p>
          <a:p>
            <a:pPr lvl="1">
              <a:lnSpc>
                <a:spcPct val="90000"/>
              </a:lnSpc>
            </a:pPr>
            <a:r>
              <a:rPr lang="en-IE" sz="1800" dirty="0"/>
              <a:t>The assignment of people to roles which best match their knowledge, skills and competencies</a:t>
            </a:r>
            <a:endParaRPr lang="en-GB" sz="1800" dirty="0"/>
          </a:p>
          <a:p>
            <a:pPr>
              <a:lnSpc>
                <a:spcPct val="90000"/>
              </a:lnSpc>
            </a:pPr>
            <a:r>
              <a:rPr lang="en-GB" sz="2000" b="1" dirty="0"/>
              <a:t>Rewards</a:t>
            </a:r>
            <a:r>
              <a:rPr lang="en-GB" sz="2000" dirty="0"/>
              <a:t> . . . </a:t>
            </a:r>
            <a:r>
              <a:rPr lang="en-GB" sz="2000" i="1" dirty="0"/>
              <a:t>based on Performance</a:t>
            </a:r>
          </a:p>
          <a:p>
            <a:pPr lvl="1">
              <a:lnSpc>
                <a:spcPct val="90000"/>
              </a:lnSpc>
            </a:pPr>
            <a:r>
              <a:rPr lang="en-IE" sz="1800" dirty="0"/>
              <a:t>The allocation of rewards to teams and individuals based on their performance and contribution to business results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28600" y="316468"/>
            <a:ext cx="8686800" cy="1241425"/>
          </a:xfrm>
          <a:prstGeom prst="rect">
            <a:avLst/>
          </a:prstGeom>
          <a:solidFill>
            <a:srgbClr val="003366"/>
          </a:solidFill>
          <a:ln>
            <a:solidFill>
              <a:schemeClr val="tx2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spcBef>
                <a:spcPct val="0"/>
              </a:spcBef>
              <a:defRPr/>
            </a:pPr>
            <a:r>
              <a:rPr lang="en-GB" sz="4400" dirty="0" smtClean="0">
                <a:solidFill>
                  <a:schemeClr val="bg1"/>
                </a:solidFill>
              </a:rPr>
              <a:t>HR’s Unique Contribution</a:t>
            </a:r>
          </a:p>
        </p:txBody>
      </p:sp>
      <p:pic>
        <p:nvPicPr>
          <p:cNvPr id="7" name="Picture 3" descr="IHR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00784" y="212555"/>
            <a:ext cx="1190816" cy="8819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71072-D669-4A5C-B912-B2C7FEC2CC38}" type="slidenum">
              <a:rPr lang="en-US"/>
              <a:pPr/>
              <a:t>5</a:t>
            </a:fld>
            <a:endParaRPr lang="en-US"/>
          </a:p>
        </p:txBody>
      </p:sp>
      <p:sp>
        <p:nvSpPr>
          <p:cNvPr id="120013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4900" dirty="0"/>
              <a:t>Firm </a:t>
            </a:r>
            <a:r>
              <a:rPr lang="en-GB" sz="4900" dirty="0" smtClean="0"/>
              <a:t>Overview</a:t>
            </a:r>
            <a:r>
              <a:rPr lang="en-GB" sz="4000" dirty="0" smtClean="0"/>
              <a:t/>
            </a:r>
            <a:br>
              <a:rPr lang="en-GB" sz="4000" dirty="0" smtClean="0"/>
            </a:br>
            <a:r>
              <a:rPr lang="en-GB" sz="4000" dirty="0" smtClean="0"/>
              <a:t> </a:t>
            </a:r>
            <a:r>
              <a:rPr lang="en-GB" sz="3600" dirty="0" smtClean="0"/>
              <a:t>- What We Do</a:t>
            </a:r>
            <a:endParaRPr lang="en-US" sz="4000" dirty="0"/>
          </a:p>
        </p:txBody>
      </p:sp>
      <p:sp>
        <p:nvSpPr>
          <p:cNvPr id="1200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2133600"/>
            <a:ext cx="8637587" cy="4267200"/>
          </a:xfrm>
        </p:spPr>
        <p:txBody>
          <a:bodyPr>
            <a:normAutofit/>
          </a:bodyPr>
          <a:lstStyle/>
          <a:p>
            <a:pPr algn="ctr">
              <a:buFont typeface="Wingdings" pitchFamily="2" charset="2"/>
              <a:buNone/>
            </a:pPr>
            <a:r>
              <a:rPr lang="en-IE" sz="3200" i="1" dirty="0" smtClean="0"/>
              <a:t>“We help clients achieve business &amp; financial success through the effective management, development and reward of their people”</a:t>
            </a:r>
          </a:p>
          <a:p>
            <a:pPr>
              <a:buFont typeface="Wingdings" pitchFamily="2" charset="2"/>
              <a:buNone/>
            </a:pPr>
            <a:endParaRPr lang="en-GB" dirty="0" smtClean="0"/>
          </a:p>
          <a:p>
            <a:r>
              <a:rPr lang="en-GB" sz="2800" dirty="0" smtClean="0"/>
              <a:t>Specialist </a:t>
            </a:r>
            <a:r>
              <a:rPr lang="en-GB" sz="2800" dirty="0"/>
              <a:t>HR Consulting Firm </a:t>
            </a:r>
          </a:p>
          <a:p>
            <a:r>
              <a:rPr lang="en-GB" sz="2800" dirty="0"/>
              <a:t>Serving Medium &amp; Larger Companies</a:t>
            </a:r>
          </a:p>
          <a:p>
            <a:r>
              <a:rPr lang="en-GB" sz="2800" dirty="0"/>
              <a:t>Public and Private Sectors </a:t>
            </a:r>
          </a:p>
          <a:p>
            <a:r>
              <a:rPr lang="en-GB" sz="2800" dirty="0"/>
              <a:t>40+ Years </a:t>
            </a:r>
            <a:r>
              <a:rPr lang="en-GB" sz="2800" dirty="0" smtClean="0"/>
              <a:t>Experience</a:t>
            </a:r>
            <a:endParaRPr lang="en-GB" sz="2800" dirty="0"/>
          </a:p>
        </p:txBody>
      </p:sp>
      <p:pic>
        <p:nvPicPr>
          <p:cNvPr id="5" name="Picture 3" descr="IHR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00784" y="212555"/>
            <a:ext cx="1190816" cy="88192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228600" y="316468"/>
            <a:ext cx="8686800" cy="1241425"/>
          </a:xfrm>
          <a:prstGeom prst="rect">
            <a:avLst/>
          </a:prstGeom>
          <a:solidFill>
            <a:srgbClr val="003366"/>
          </a:solidFill>
          <a:ln>
            <a:solidFill>
              <a:schemeClr val="tx2"/>
            </a:solidFill>
          </a:ln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600" dirty="0" smtClean="0">
                <a:solidFill>
                  <a:schemeClr val="bg1"/>
                </a:solidFill>
              </a:rPr>
              <a:t>Effective Human Capital Management</a:t>
            </a:r>
            <a:br>
              <a:rPr lang="en-GB" sz="3600" dirty="0" smtClean="0">
                <a:solidFill>
                  <a:schemeClr val="bg1"/>
                </a:solidFill>
              </a:rPr>
            </a:br>
            <a:r>
              <a:rPr lang="en-GB" sz="3600" dirty="0" smtClean="0">
                <a:solidFill>
                  <a:schemeClr val="bg1"/>
                </a:solidFill>
              </a:rPr>
              <a:t> - </a:t>
            </a:r>
            <a:r>
              <a:rPr lang="en-GB" sz="3200" dirty="0" smtClean="0">
                <a:solidFill>
                  <a:schemeClr val="bg1"/>
                </a:solidFill>
              </a:rPr>
              <a:t>Our Model to drive Business Performance</a:t>
            </a:r>
            <a:endParaRPr kumimoji="0" lang="en-GB" sz="2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8600" y="1535668"/>
            <a:ext cx="8686800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GB" b="1" dirty="0">
              <a:solidFill>
                <a:srgbClr val="003366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228600" y="6629400"/>
            <a:ext cx="8686800" cy="0"/>
          </a:xfrm>
          <a:prstGeom prst="line">
            <a:avLst/>
          </a:prstGeom>
          <a:ln w="25400" cmpd="sng">
            <a:solidFill>
              <a:srgbClr val="A5002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3" descr="IHR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00784" y="212555"/>
            <a:ext cx="1190816" cy="88192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9" name="Chart 8"/>
          <p:cNvGraphicFramePr/>
          <p:nvPr/>
        </p:nvGraphicFramePr>
        <p:xfrm>
          <a:off x="533400" y="3048000"/>
          <a:ext cx="2971800" cy="2362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2" name="Group 39"/>
          <p:cNvGrpSpPr/>
          <p:nvPr/>
        </p:nvGrpSpPr>
        <p:grpSpPr>
          <a:xfrm>
            <a:off x="7162800" y="3124200"/>
            <a:ext cx="1752601" cy="2254320"/>
            <a:chOff x="7162800" y="3124200"/>
            <a:chExt cx="1752601" cy="2254320"/>
          </a:xfrm>
        </p:grpSpPr>
        <p:grpSp>
          <p:nvGrpSpPr>
            <p:cNvPr id="3" name="Group 9"/>
            <p:cNvGrpSpPr/>
            <p:nvPr/>
          </p:nvGrpSpPr>
          <p:grpSpPr>
            <a:xfrm>
              <a:off x="7163920" y="3124200"/>
              <a:ext cx="1750362" cy="892800"/>
              <a:chOff x="1328271" y="28539"/>
              <a:chExt cx="1750362" cy="892800"/>
            </a:xfrm>
            <a:solidFill>
              <a:srgbClr val="C93600"/>
            </a:solidFill>
            <a:scene3d>
              <a:camera prst="orthographicFront"/>
              <a:lightRig rig="soft" dir="t"/>
            </a:scene3d>
          </p:grpSpPr>
          <p:sp>
            <p:nvSpPr>
              <p:cNvPr id="15" name="Rectangle 14"/>
              <p:cNvSpPr/>
              <p:nvPr/>
            </p:nvSpPr>
            <p:spPr>
              <a:xfrm>
                <a:off x="1328271" y="28539"/>
                <a:ext cx="1750362" cy="892800"/>
              </a:xfrm>
              <a:prstGeom prst="rect">
                <a:avLst/>
              </a:prstGeom>
              <a:solidFill>
                <a:srgbClr val="A50021"/>
              </a:solidFill>
              <a:sp3d prstMaterial="plastic">
                <a:bevelT w="127000" h="25400" prst="relaxedInset"/>
              </a:sp3d>
            </p:spPr>
            <p:style>
              <a:lnRef idx="0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6" name="Rectangle 15"/>
              <p:cNvSpPr/>
              <p:nvPr/>
            </p:nvSpPr>
            <p:spPr>
              <a:xfrm>
                <a:off x="1328271" y="28539"/>
                <a:ext cx="1750362" cy="892800"/>
              </a:xfrm>
              <a:prstGeom prst="rect">
                <a:avLst/>
              </a:prstGeom>
              <a:grpFill/>
              <a:sp3d prstMaterial="plastic">
                <a:bevelT prst="relaxedInset"/>
              </a:sp3d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85344" tIns="48768" rIns="85344" bIns="48768" numCol="1" spcCol="1270" anchor="ctr" anchorCtr="0">
                <a:noAutofit/>
              </a:bodyPr>
              <a:lstStyle/>
              <a:p>
                <a:pPr lvl="0" algn="ctr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400" b="1" kern="1200" dirty="0" smtClean="0">
                    <a:latin typeface="+mj-lt"/>
                  </a:rPr>
                  <a:t>Business Value Enhancement</a:t>
                </a:r>
                <a:endParaRPr lang="en-GB" sz="1400" b="1" kern="1200" dirty="0">
                  <a:latin typeface="+mj-lt"/>
                </a:endParaRPr>
              </a:p>
            </p:txBody>
          </p:sp>
        </p:grpSp>
        <p:grpSp>
          <p:nvGrpSpPr>
            <p:cNvPr id="5" name="Group 10"/>
            <p:cNvGrpSpPr/>
            <p:nvPr/>
          </p:nvGrpSpPr>
          <p:grpSpPr>
            <a:xfrm>
              <a:off x="7162800" y="4017000"/>
              <a:ext cx="1752601" cy="1361520"/>
              <a:chOff x="1327151" y="921339"/>
              <a:chExt cx="1752601" cy="1361520"/>
            </a:xfrm>
            <a:scene3d>
              <a:camera prst="orthographicFront"/>
              <a:lightRig rig="soft" dir="t"/>
            </a:scene3d>
          </p:grpSpPr>
          <p:sp>
            <p:nvSpPr>
              <p:cNvPr id="13" name="Rectangle 12"/>
              <p:cNvSpPr/>
              <p:nvPr/>
            </p:nvSpPr>
            <p:spPr>
              <a:xfrm>
                <a:off x="1327151" y="921339"/>
                <a:ext cx="1752601" cy="1361520"/>
              </a:xfrm>
              <a:prstGeom prst="rect">
                <a:avLst/>
              </a:prstGeom>
              <a:solidFill>
                <a:srgbClr val="014477"/>
              </a:solidFill>
              <a:sp3d extrusionH="190500" prstMaterial="plastic">
                <a:bevelT w="120650" h="38100" prst="relaxedInset"/>
                <a:bevelB w="120650" h="57150" prst="relaxedInset"/>
                <a:contourClr>
                  <a:schemeClr val="bg1"/>
                </a:contourClr>
              </a:sp3d>
            </p:spPr>
            <p:style>
              <a:lnRef idx="1">
                <a:schemeClr val="accent2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2">
                <a:schemeClr val="accent2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4" name="Rectangle 13"/>
              <p:cNvSpPr/>
              <p:nvPr/>
            </p:nvSpPr>
            <p:spPr>
              <a:xfrm>
                <a:off x="1479552" y="921339"/>
                <a:ext cx="1524000" cy="1361520"/>
              </a:xfrm>
              <a:prstGeom prst="rect">
                <a:avLst/>
              </a:prstGeom>
              <a:sp3d prstMaterial="plastic">
                <a:bevelT prst="relaxedInset"/>
              </a:sp3d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4008" tIns="64008" rIns="85344" bIns="96012" numCol="1" spcCol="1270" anchor="t" anchorCtr="0">
                <a:noAutofit/>
              </a:bodyPr>
              <a:lstStyle/>
              <a:p>
                <a:pPr marL="114300" lvl="1" indent="-114300" algn="l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kern="1200" dirty="0" smtClean="0">
                    <a:solidFill>
                      <a:schemeClr val="bg1"/>
                    </a:solidFill>
                    <a:latin typeface="+mj-lt"/>
                  </a:rPr>
                  <a:t>Financial Impact</a:t>
                </a:r>
                <a:endParaRPr lang="en-GB" sz="1300" b="1" kern="1200" dirty="0">
                  <a:solidFill>
                    <a:schemeClr val="bg1"/>
                  </a:solidFill>
                  <a:latin typeface="+mj-lt"/>
                </a:endParaRPr>
              </a:p>
              <a:p>
                <a:pPr marL="114300" lvl="1" indent="-114300" algn="l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kern="1200" dirty="0" smtClean="0">
                    <a:solidFill>
                      <a:schemeClr val="bg1"/>
                    </a:solidFill>
                    <a:latin typeface="+mj-lt"/>
                  </a:rPr>
                  <a:t>Productivity</a:t>
                </a:r>
                <a:endParaRPr lang="en-GB" sz="1300" b="1" kern="1200" dirty="0">
                  <a:solidFill>
                    <a:schemeClr val="bg1"/>
                  </a:solidFill>
                  <a:latin typeface="+mj-lt"/>
                </a:endParaRPr>
              </a:p>
              <a:p>
                <a:pPr marL="114300" lvl="1" indent="-114300" algn="l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kern="1200" dirty="0" smtClean="0">
                    <a:solidFill>
                      <a:schemeClr val="bg1"/>
                    </a:solidFill>
                    <a:latin typeface="+mj-lt"/>
                  </a:rPr>
                  <a:t>Performance</a:t>
                </a:r>
                <a:endParaRPr lang="en-GB" sz="1300" b="1" kern="1200" dirty="0">
                  <a:solidFill>
                    <a:schemeClr val="bg1"/>
                  </a:solidFill>
                  <a:latin typeface="+mj-lt"/>
                </a:endParaRPr>
              </a:p>
              <a:p>
                <a:pPr marL="114300" lvl="1" indent="-114300" algn="l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kern="1200" dirty="0" smtClean="0">
                    <a:solidFill>
                      <a:schemeClr val="bg1"/>
                    </a:solidFill>
                    <a:latin typeface="+mj-lt"/>
                  </a:rPr>
                  <a:t>Innovation</a:t>
                </a:r>
                <a:endParaRPr lang="en-GB" sz="1300" b="1" kern="1200" dirty="0">
                  <a:solidFill>
                    <a:schemeClr val="bg1"/>
                  </a:solidFill>
                  <a:latin typeface="+mj-lt"/>
                </a:endParaRPr>
              </a:p>
              <a:p>
                <a:pPr marL="114300" lvl="1" indent="-114300" algn="l" defTabSz="53340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kern="1200" dirty="0" smtClean="0">
                    <a:solidFill>
                      <a:schemeClr val="bg1"/>
                    </a:solidFill>
                    <a:latin typeface="+mj-lt"/>
                  </a:rPr>
                  <a:t>Customer Loyalty</a:t>
                </a:r>
                <a:endParaRPr lang="en-GB" sz="1300" b="1" kern="12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0" name="Group 40"/>
          <p:cNvGrpSpPr/>
          <p:nvPr/>
        </p:nvGrpSpPr>
        <p:grpSpPr>
          <a:xfrm>
            <a:off x="209543" y="3124200"/>
            <a:ext cx="1771657" cy="2269132"/>
            <a:chOff x="209543" y="3124200"/>
            <a:chExt cx="1771657" cy="2269132"/>
          </a:xfrm>
        </p:grpSpPr>
        <p:grpSp>
          <p:nvGrpSpPr>
            <p:cNvPr id="11" name="Group 15"/>
            <p:cNvGrpSpPr/>
            <p:nvPr/>
          </p:nvGrpSpPr>
          <p:grpSpPr>
            <a:xfrm>
              <a:off x="210835" y="3124200"/>
              <a:ext cx="1769391" cy="897532"/>
              <a:chOff x="1144284" y="334367"/>
              <a:chExt cx="2016731" cy="790465"/>
            </a:xfrm>
            <a:solidFill>
              <a:srgbClr val="C93600"/>
            </a:solidFill>
            <a:scene3d>
              <a:camera prst="orthographicFront"/>
              <a:lightRig rig="threePt" dir="t"/>
            </a:scene3d>
          </p:grpSpPr>
          <p:sp>
            <p:nvSpPr>
              <p:cNvPr id="22" name="Rectangle 21"/>
              <p:cNvSpPr/>
              <p:nvPr/>
            </p:nvSpPr>
            <p:spPr>
              <a:xfrm>
                <a:off x="1144284" y="334367"/>
                <a:ext cx="1974415" cy="790465"/>
              </a:xfrm>
              <a:prstGeom prst="rect">
                <a:avLst/>
              </a:prstGeom>
              <a:solidFill>
                <a:srgbClr val="A50021"/>
              </a:solidFill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3" name="Rectangle 22"/>
              <p:cNvSpPr/>
              <p:nvPr/>
            </p:nvSpPr>
            <p:spPr>
              <a:xfrm>
                <a:off x="1144284" y="334367"/>
                <a:ext cx="2016731" cy="790465"/>
              </a:xfrm>
              <a:prstGeom prst="rect">
                <a:avLst/>
              </a:prstGeom>
              <a:grpFill/>
              <a:sp3d prstMaterial="plastic">
                <a:bevelT prst="relaxedInset"/>
                <a:bevelB prst="relaxedInset"/>
              </a:sp3d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106680" tIns="60960" rIns="106680" bIns="60960" numCol="1" spcCol="1270" anchor="ctr" anchorCtr="0">
                <a:noAutofit/>
              </a:bodyPr>
              <a:lstStyle/>
              <a:p>
                <a:pPr lvl="0" algn="ctr"/>
                <a:r>
                  <a:rPr lang="en-US" sz="1400" b="1" dirty="0" smtClean="0">
                    <a:latin typeface="+mj-lt"/>
                  </a:rPr>
                  <a:t>Business Strategy</a:t>
                </a:r>
                <a:br>
                  <a:rPr lang="en-US" sz="1400" b="1" dirty="0" smtClean="0">
                    <a:latin typeface="+mj-lt"/>
                  </a:rPr>
                </a:br>
                <a:r>
                  <a:rPr lang="en-US" sz="1400" b="1" dirty="0" smtClean="0">
                    <a:latin typeface="+mj-lt"/>
                  </a:rPr>
                  <a:t>&amp; Vision</a:t>
                </a:r>
                <a:endParaRPr lang="en-GB" sz="1400" dirty="0">
                  <a:latin typeface="+mj-lt"/>
                </a:endParaRPr>
              </a:p>
            </p:txBody>
          </p:sp>
        </p:grpSp>
        <p:grpSp>
          <p:nvGrpSpPr>
            <p:cNvPr id="12" name="Group 18"/>
            <p:cNvGrpSpPr/>
            <p:nvPr/>
          </p:nvGrpSpPr>
          <p:grpSpPr>
            <a:xfrm>
              <a:off x="209543" y="4016265"/>
              <a:ext cx="1771657" cy="1377067"/>
              <a:chOff x="1142992" y="1124832"/>
              <a:chExt cx="2019314" cy="1207799"/>
            </a:xfrm>
            <a:solidFill>
              <a:srgbClr val="014477"/>
            </a:solidFill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20" name="Rectangle 19"/>
              <p:cNvSpPr/>
              <p:nvPr/>
            </p:nvSpPr>
            <p:spPr>
              <a:xfrm>
                <a:off x="1142992" y="1124832"/>
                <a:ext cx="2019314" cy="1207799"/>
              </a:xfrm>
              <a:prstGeom prst="rect">
                <a:avLst/>
              </a:prstGeom>
              <a:grpFill/>
              <a:sp3d extrusionH="190500" prstMaterial="dkEdge">
                <a:bevelT w="120650" h="38100" prst="relaxedInset"/>
                <a:bevelB w="120650" h="57150" prst="relaxedInset"/>
                <a:contourClr>
                  <a:schemeClr val="bg1"/>
                </a:contourClr>
              </a:sp3d>
            </p:spPr>
            <p:style>
              <a:lnRef idx="1">
                <a:schemeClr val="accent2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2">
                  <a:alpha val="90000"/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1" name="Rectangle 20"/>
              <p:cNvSpPr/>
              <p:nvPr/>
            </p:nvSpPr>
            <p:spPr>
              <a:xfrm>
                <a:off x="1258795" y="1124832"/>
                <a:ext cx="1729808" cy="1207799"/>
              </a:xfrm>
              <a:prstGeom prst="rect">
                <a:avLst/>
              </a:prstGeom>
              <a:solidFill>
                <a:srgbClr val="014477"/>
              </a:solidFill>
              <a:sp3d>
                <a:bevelT prst="relaxedInset"/>
              </a:sp3d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69342" tIns="69342" rIns="92456" bIns="104013" numCol="1" spcCol="1270" anchor="t" anchorCtr="0">
                <a:noAutofit/>
              </a:bodyPr>
              <a:lstStyle/>
              <a:p>
                <a:pPr marL="114300" lvl="1" indent="-114300" algn="l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kern="1200" dirty="0" smtClean="0">
                    <a:solidFill>
                      <a:schemeClr val="bg1"/>
                    </a:solidFill>
                    <a:latin typeface="+mj-lt"/>
                  </a:rPr>
                  <a:t>Market Position</a:t>
                </a:r>
                <a:endParaRPr lang="en-GB" sz="1300" b="1" kern="1200" dirty="0" smtClean="0">
                  <a:solidFill>
                    <a:schemeClr val="bg1"/>
                  </a:solidFill>
                  <a:latin typeface="+mj-lt"/>
                </a:endParaRPr>
              </a:p>
              <a:p>
                <a:pPr marL="114300" lvl="1" indent="-114300" algn="l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kern="1200" dirty="0" smtClean="0">
                    <a:solidFill>
                      <a:schemeClr val="bg1"/>
                    </a:solidFill>
                    <a:latin typeface="+mj-lt"/>
                  </a:rPr>
                  <a:t>Revenue Growth</a:t>
                </a:r>
              </a:p>
              <a:p>
                <a:pPr marL="114300" lvl="1" indent="-114300" algn="l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dirty="0" smtClean="0">
                    <a:solidFill>
                      <a:schemeClr val="bg1"/>
                    </a:solidFill>
                    <a:latin typeface="+mj-lt"/>
                  </a:rPr>
                  <a:t>Customer Impact</a:t>
                </a:r>
              </a:p>
              <a:p>
                <a:pPr marL="114300" lvl="1" indent="-114300" algn="l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kern="1200" dirty="0" smtClean="0">
                    <a:solidFill>
                      <a:schemeClr val="bg1"/>
                    </a:solidFill>
                    <a:latin typeface="+mj-lt"/>
                  </a:rPr>
                  <a:t>Internal Business</a:t>
                </a:r>
                <a:endParaRPr lang="en-GB" sz="1300" b="1" kern="1200" dirty="0" smtClean="0">
                  <a:solidFill>
                    <a:schemeClr val="bg1"/>
                  </a:solidFill>
                  <a:latin typeface="+mj-lt"/>
                </a:endParaRPr>
              </a:p>
              <a:p>
                <a:pPr marL="114300" lvl="1" indent="-114300" algn="l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15000"/>
                  </a:spcAft>
                  <a:buFont typeface="Wingdings" pitchFamily="2" charset="2"/>
                  <a:buChar char="§"/>
                </a:pPr>
                <a:r>
                  <a:rPr lang="en-US" sz="1300" b="1" kern="1200" dirty="0" smtClean="0">
                    <a:solidFill>
                      <a:schemeClr val="bg1"/>
                    </a:solidFill>
                    <a:latin typeface="+mj-lt"/>
                  </a:rPr>
                  <a:t>Customer Loyalty</a:t>
                </a:r>
                <a:endParaRPr lang="en-GB" sz="1300" b="1" kern="1200" dirty="0">
                  <a:solidFill>
                    <a:schemeClr val="bg1"/>
                  </a:solidFill>
                  <a:latin typeface="+mj-lt"/>
                </a:endParaRPr>
              </a:p>
            </p:txBody>
          </p:sp>
        </p:grpSp>
      </p:grpSp>
      <p:grpSp>
        <p:nvGrpSpPr>
          <p:cNvPr id="17" name="Group 23"/>
          <p:cNvGrpSpPr/>
          <p:nvPr/>
        </p:nvGrpSpPr>
        <p:grpSpPr>
          <a:xfrm>
            <a:off x="2209800" y="2209800"/>
            <a:ext cx="4724400" cy="4267200"/>
            <a:chOff x="2006600" y="1879603"/>
            <a:chExt cx="5105400" cy="4495799"/>
          </a:xfrm>
        </p:grpSpPr>
        <p:grpSp>
          <p:nvGrpSpPr>
            <p:cNvPr id="18" name="Group 21"/>
            <p:cNvGrpSpPr/>
            <p:nvPr/>
          </p:nvGrpSpPr>
          <p:grpSpPr>
            <a:xfrm>
              <a:off x="2006600" y="1879603"/>
              <a:ext cx="5105400" cy="4495799"/>
              <a:chOff x="2032000" y="1879603"/>
              <a:chExt cx="5105400" cy="4495799"/>
            </a:xfrm>
          </p:grpSpPr>
          <p:grpSp>
            <p:nvGrpSpPr>
              <p:cNvPr id="19" name="Group 5"/>
              <p:cNvGrpSpPr/>
              <p:nvPr/>
            </p:nvGrpSpPr>
            <p:grpSpPr>
              <a:xfrm>
                <a:off x="2032000" y="1879603"/>
                <a:ext cx="5105400" cy="4495799"/>
                <a:chOff x="1142992" y="1201715"/>
                <a:chExt cx="2019314" cy="1134017"/>
              </a:xfrm>
              <a:solidFill>
                <a:srgbClr val="014477"/>
              </a:solidFill>
              <a:scene3d>
                <a:camera prst="orthographicFront"/>
                <a:lightRig rig="threePt" dir="t">
                  <a:rot lat="0" lon="0" rev="7500000"/>
                </a:lightRig>
              </a:scene3d>
            </p:grpSpPr>
            <p:sp>
              <p:nvSpPr>
                <p:cNvPr id="30" name="Rectangle 29"/>
                <p:cNvSpPr/>
                <p:nvPr/>
              </p:nvSpPr>
              <p:spPr>
                <a:xfrm>
                  <a:off x="1142992" y="1220935"/>
                  <a:ext cx="2019314" cy="1114797"/>
                </a:xfrm>
                <a:prstGeom prst="rect">
                  <a:avLst/>
                </a:prstGeom>
                <a:grpFill/>
                <a:sp3d extrusionH="190500" prstMaterial="dkEdge">
                  <a:bevelT w="120650" h="38100" prst="relaxedInset"/>
                  <a:bevelB w="120650" h="57150" prst="relaxedInset"/>
                  <a:contourClr>
                    <a:schemeClr val="bg1"/>
                  </a:contourClr>
                </a:sp3d>
              </p:spPr>
              <p:style>
                <a:lnRef idx="1">
                  <a:schemeClr val="accent2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2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fillRef>
                <a:effectRef idx="2">
                  <a:schemeClr val="accent2">
                    <a:alpha val="90000"/>
                    <a:tint val="40000"/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31" name="Rectangle 30"/>
                <p:cNvSpPr/>
                <p:nvPr/>
              </p:nvSpPr>
              <p:spPr>
                <a:xfrm>
                  <a:off x="1142992" y="1201715"/>
                  <a:ext cx="2019314" cy="1130916"/>
                </a:xfrm>
                <a:prstGeom prst="rect">
                  <a:avLst/>
                </a:prstGeom>
                <a:solidFill>
                  <a:srgbClr val="014477"/>
                </a:solidFill>
                <a:sp3d>
                  <a:bevelT prst="relaxedInset"/>
                </a:sp3d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69342" tIns="69342" rIns="92456" bIns="104013" numCol="1" spcCol="1270" anchor="t" anchorCtr="0">
                  <a:noAutofit/>
                </a:bodyPr>
                <a:lstStyle/>
                <a:p>
                  <a:pPr marL="114300" lvl="1" indent="-114300" algn="l" defTabSz="57785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15000"/>
                    </a:spcAft>
                    <a:buChar char="••"/>
                  </a:pPr>
                  <a:endParaRPr lang="en-GB" sz="1300" b="1" kern="1200" dirty="0">
                    <a:solidFill>
                      <a:schemeClr val="bg1"/>
                    </a:solidFill>
                  </a:endParaRPr>
                </a:p>
              </p:txBody>
            </p:sp>
          </p:grpSp>
          <p:graphicFrame>
            <p:nvGraphicFramePr>
              <p:cNvPr id="28" name="Diagram 3"/>
              <p:cNvGraphicFramePr/>
              <p:nvPr/>
            </p:nvGraphicFramePr>
            <p:xfrm>
              <a:off x="2222502" y="2040167"/>
              <a:ext cx="4750209" cy="4127950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5" r:lo="rId6" r:qs="rId7" r:cs="rId8"/>
              </a:graphicData>
            </a:graphic>
          </p:graphicFrame>
          <p:sp>
            <p:nvSpPr>
              <p:cNvPr id="29" name="Rectangle 28"/>
              <p:cNvSpPr/>
              <p:nvPr/>
            </p:nvSpPr>
            <p:spPr>
              <a:xfrm>
                <a:off x="2540000" y="2108201"/>
                <a:ext cx="4140200" cy="580032"/>
              </a:xfrm>
              <a:prstGeom prst="rect">
                <a:avLst/>
              </a:prstGeom>
              <a:solidFill>
                <a:srgbClr val="A50021"/>
              </a:solidFill>
              <a:scene3d>
                <a:camera prst="orthographicFront"/>
                <a:lightRig rig="threePt" dir="t">
                  <a:rot lat="0" lon="0" rev="7500000"/>
                </a:lightRig>
              </a:scene3d>
              <a:sp3d prstMaterial="plastic">
                <a:bevelT w="127000" h="25400" prst="relaxedInset"/>
              </a:sp3d>
            </p:spPr>
            <p:style>
              <a:lnRef idx="0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06680" tIns="60960" rIns="106680" bIns="60960" numCol="1" spcCol="1270" anchor="ctr" anchorCtr="0">
                <a:noAutofit/>
              </a:bodyPr>
              <a:lstStyle/>
              <a:p>
                <a:pPr lvl="0" algn="ctr"/>
                <a:r>
                  <a:rPr lang="en-US" b="1" dirty="0" smtClean="0"/>
                  <a:t>Human Capital Management</a:t>
                </a:r>
                <a:endParaRPr lang="en-GB" dirty="0"/>
              </a:p>
            </p:txBody>
          </p:sp>
        </p:grpSp>
        <p:graphicFrame>
          <p:nvGraphicFramePr>
            <p:cNvPr id="26" name="Diagram 25"/>
            <p:cNvGraphicFramePr/>
            <p:nvPr/>
          </p:nvGraphicFramePr>
          <p:xfrm>
            <a:off x="3644900" y="3898028"/>
            <a:ext cx="1536700" cy="1237153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0" r:lo="rId11" r:qs="rId12" r:cs="rId13"/>
            </a:graphicData>
          </a:graphic>
        </p:graphicFrame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71072-D669-4A5C-B912-B2C7FEC2CC38}" type="slidenum">
              <a:rPr lang="en-US"/>
              <a:pPr/>
              <a:t>7</a:t>
            </a:fld>
            <a:endParaRPr lang="en-US"/>
          </a:p>
        </p:txBody>
      </p:sp>
      <p:sp>
        <p:nvSpPr>
          <p:cNvPr id="120013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5400" dirty="0" smtClean="0"/>
              <a:t>Client Services Overview</a:t>
            </a:r>
            <a:br>
              <a:rPr lang="en-GB" sz="5400" dirty="0" smtClean="0"/>
            </a:br>
            <a:endParaRPr lang="en-US" sz="4000" dirty="0"/>
          </a:p>
        </p:txBody>
      </p:sp>
      <p:pic>
        <p:nvPicPr>
          <p:cNvPr id="5" name="Picture 3" descr="IHRlogo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00784" y="212555"/>
            <a:ext cx="1190816" cy="88192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roup 15"/>
          <p:cNvGrpSpPr/>
          <p:nvPr/>
        </p:nvGrpSpPr>
        <p:grpSpPr>
          <a:xfrm>
            <a:off x="1524000" y="1981200"/>
            <a:ext cx="5791200" cy="4724400"/>
            <a:chOff x="1524000" y="1981200"/>
            <a:chExt cx="5791200" cy="4724400"/>
          </a:xfrm>
        </p:grpSpPr>
        <p:sp>
          <p:nvSpPr>
            <p:cNvPr id="9" name="Rounded Rectangle 8"/>
            <p:cNvSpPr/>
            <p:nvPr/>
          </p:nvSpPr>
          <p:spPr>
            <a:xfrm>
              <a:off x="1739295" y="1981200"/>
              <a:ext cx="5055810" cy="4572000"/>
            </a:xfrm>
            <a:prstGeom prst="roundRect">
              <a:avLst/>
            </a:prstGeom>
            <a:solidFill>
              <a:srgbClr val="003366"/>
            </a:solidFill>
            <a:ln w="28575">
              <a:noFill/>
            </a:ln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  <a:bevelB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aphicFrame>
          <p:nvGraphicFramePr>
            <p:cNvPr id="10" name="Diagram 9"/>
            <p:cNvGraphicFramePr/>
            <p:nvPr/>
          </p:nvGraphicFramePr>
          <p:xfrm>
            <a:off x="1524000" y="2590800"/>
            <a:ext cx="5791200" cy="411480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4" r:lo="rId5" r:qs="rId6" r:cs="rId7"/>
            </a:graphicData>
          </a:graphic>
        </p:graphicFrame>
        <p:grpSp>
          <p:nvGrpSpPr>
            <p:cNvPr id="11" name="Group 81"/>
            <p:cNvGrpSpPr/>
            <p:nvPr/>
          </p:nvGrpSpPr>
          <p:grpSpPr>
            <a:xfrm>
              <a:off x="2015067" y="2286001"/>
              <a:ext cx="4504267" cy="461665"/>
              <a:chOff x="0" y="2514600"/>
              <a:chExt cx="3733800" cy="538609"/>
            </a:xfrm>
          </p:grpSpPr>
          <p:sp>
            <p:nvSpPr>
              <p:cNvPr id="13" name="Rounded Rectangle 12"/>
              <p:cNvSpPr/>
              <p:nvPr/>
            </p:nvSpPr>
            <p:spPr>
              <a:xfrm>
                <a:off x="0" y="2514600"/>
                <a:ext cx="3733800" cy="533400"/>
              </a:xfrm>
              <a:prstGeom prst="roundRect">
                <a:avLst/>
              </a:prstGeom>
              <a:solidFill>
                <a:srgbClr val="A50021"/>
              </a:solidFill>
              <a:scene3d>
                <a:camera prst="orthographicFront"/>
                <a:lightRig rig="threePt" dir="t">
                  <a:rot lat="0" lon="0" rev="7500000"/>
                </a:lightRig>
              </a:scene3d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" name="TextBox 13"/>
              <p:cNvSpPr txBox="1"/>
              <p:nvPr/>
            </p:nvSpPr>
            <p:spPr>
              <a:xfrm>
                <a:off x="76200" y="2514600"/>
                <a:ext cx="3657600" cy="538609"/>
              </a:xfrm>
              <a:prstGeom prst="rect">
                <a:avLst/>
              </a:prstGeom>
              <a:noFill/>
              <a:ln>
                <a:solidFill>
                  <a:srgbClr val="003366">
                    <a:alpha val="0"/>
                  </a:srgb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 i="1" dirty="0" smtClean="0">
                    <a:solidFill>
                      <a:schemeClr val="bg1"/>
                    </a:solidFill>
                  </a:rPr>
                  <a:t>InvolveHR</a:t>
                </a:r>
                <a:r>
                  <a:rPr lang="en-US" sz="2400" b="1" dirty="0" smtClean="0">
                    <a:solidFill>
                      <a:schemeClr val="bg1"/>
                    </a:solidFill>
                  </a:rPr>
                  <a:t> Core Services</a:t>
                </a:r>
                <a:endParaRPr lang="en-GB" sz="2400" b="1" dirty="0" smtClean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12" name="Straight Connector 11"/>
            <p:cNvCxnSpPr/>
            <p:nvPr/>
          </p:nvCxnSpPr>
          <p:spPr>
            <a:xfrm>
              <a:off x="1831219" y="2819400"/>
              <a:ext cx="4871962" cy="0"/>
            </a:xfrm>
            <a:prstGeom prst="line">
              <a:avLst/>
            </a:prstGeom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371072-D669-4A5C-B912-B2C7FEC2CC38}" type="slidenum">
              <a:rPr lang="en-US"/>
              <a:pPr/>
              <a:t>8</a:t>
            </a:fld>
            <a:endParaRPr lang="en-US"/>
          </a:p>
        </p:txBody>
      </p:sp>
      <p:sp>
        <p:nvSpPr>
          <p:cNvPr id="1200130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Service Components</a:t>
            </a:r>
            <a:endParaRPr lang="en-US" sz="3600" dirty="0"/>
          </a:p>
        </p:txBody>
      </p:sp>
      <p:pic>
        <p:nvPicPr>
          <p:cNvPr id="5" name="Picture 3" descr="IHRlogo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00784" y="212555"/>
            <a:ext cx="1190816" cy="881920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Rectangle 4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647950" y="3165475"/>
            <a:ext cx="1971675" cy="2905125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80975" indent="-180975" algn="l" defTabSz="542925" eaLnBrk="1" hangingPunct="1">
              <a:spcAft>
                <a:spcPct val="50000"/>
              </a:spcAft>
            </a:pPr>
            <a:endParaRPr lang="en-US" sz="200" dirty="0" smtClean="0">
              <a:solidFill>
                <a:srgbClr val="B00D2C"/>
              </a:solidFill>
            </a:endParaRPr>
          </a:p>
          <a:p>
            <a:pPr marL="180975" indent="-180975" algn="l" defTabSz="542925" eaLnBrk="1" hangingPunct="1">
              <a:spcAft>
                <a:spcPct val="50000"/>
              </a:spcAft>
            </a:pPr>
            <a:r>
              <a:rPr lang="en-US" dirty="0" smtClean="0">
                <a:solidFill>
                  <a:srgbClr val="B00D2C"/>
                </a:solidFill>
              </a:rPr>
              <a:t>Organisation </a:t>
            </a:r>
            <a:r>
              <a:rPr lang="en-US" dirty="0">
                <a:solidFill>
                  <a:srgbClr val="B00D2C"/>
                </a:solidFill>
              </a:rPr>
              <a:t>Design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Organisation Structure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Group 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</a:t>
            </a:r>
            <a:r>
              <a:rPr lang="en-GB" sz="800" b="0" dirty="0" err="1">
                <a:solidFill>
                  <a:srgbClr val="014477"/>
                </a:solidFill>
                <a:latin typeface="Verdana" pitchFamily="34" charset="0"/>
              </a:rPr>
              <a:t>SBUs</a:t>
            </a: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/Functions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Role Familie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Role Definition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Role Profiles 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KS&amp;C Framework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Knowledge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Skills 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Competencies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Employee/Role Mapping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Role Fit/Gaps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Demand/Supply Forecasting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Resourcing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Budgeting</a:t>
            </a:r>
            <a:endParaRPr lang="en-US" sz="800" b="0" dirty="0">
              <a:solidFill>
                <a:srgbClr val="014477"/>
              </a:solidFill>
              <a:latin typeface="Verdana" pitchFamily="34" charset="0"/>
            </a:endParaRPr>
          </a:p>
        </p:txBody>
      </p:sp>
      <p:sp>
        <p:nvSpPr>
          <p:cNvPr id="9" name="Text Box 5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34975" y="3178175"/>
            <a:ext cx="2154238" cy="2873375"/>
          </a:xfrm>
          <a:prstGeom prst="rect">
            <a:avLst/>
          </a:prstGeom>
          <a:solidFill>
            <a:schemeClr val="bg1"/>
          </a:solidFill>
          <a:ln w="2857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marL="180975" indent="-180975" algn="l" eaLnBrk="1" hangingPunct="1">
              <a:spcAft>
                <a:spcPct val="50000"/>
              </a:spcAft>
            </a:pPr>
            <a:endParaRPr lang="en-US" sz="200" dirty="0" smtClean="0">
              <a:solidFill>
                <a:srgbClr val="B00D2C"/>
              </a:solidFill>
            </a:endParaRPr>
          </a:p>
          <a:p>
            <a:pPr marL="180975" indent="-180975" algn="l" eaLnBrk="1" hangingPunct="1">
              <a:spcAft>
                <a:spcPct val="50000"/>
              </a:spcAft>
            </a:pPr>
            <a:r>
              <a:rPr lang="en-US" dirty="0" smtClean="0">
                <a:solidFill>
                  <a:srgbClr val="B00D2C"/>
                </a:solidFill>
              </a:rPr>
              <a:t>HR </a:t>
            </a:r>
            <a:r>
              <a:rPr lang="en-US" dirty="0">
                <a:solidFill>
                  <a:srgbClr val="B00D2C"/>
                </a:solidFill>
              </a:rPr>
              <a:t>Strategy &amp; Planning</a:t>
            </a:r>
            <a:endParaRPr lang="en-US" sz="900" b="0" dirty="0">
              <a:solidFill>
                <a:srgbClr val="B00D2C"/>
              </a:solidFill>
            </a:endParaRPr>
          </a:p>
          <a:p>
            <a:pPr marL="180975" indent="-180975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US" sz="1000" b="0" dirty="0">
                <a:solidFill>
                  <a:srgbClr val="014477"/>
                </a:solidFill>
                <a:latin typeface="Verdana" pitchFamily="34" charset="0"/>
              </a:rPr>
              <a:t>Strategic Planning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SzPct val="80000"/>
              <a:buFont typeface="Wingdings" pitchFamily="2" charset="2"/>
              <a:buChar char="q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 </a:t>
            </a: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Align business, HR &amp;</a:t>
            </a:r>
            <a:br>
              <a:rPr lang="en-GB" sz="800" b="0" dirty="0">
                <a:solidFill>
                  <a:srgbClr val="014477"/>
                </a:solidFill>
                <a:latin typeface="Verdana" pitchFamily="34" charset="0"/>
              </a:rPr>
            </a:b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 employee goals</a:t>
            </a:r>
          </a:p>
          <a:p>
            <a:pPr marL="180975" indent="-180975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HR Policies &amp; Processes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Business Needs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 People Policies</a:t>
            </a:r>
          </a:p>
          <a:p>
            <a:pPr marL="180975" indent="-180975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Cost Management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Maximise efficiencies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Manage people costs</a:t>
            </a:r>
          </a:p>
          <a:p>
            <a:pPr marL="180975" indent="-180975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HR Function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</a:rPr>
              <a:t> Structures/Roles 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</a:rPr>
              <a:t> Service Delivery Models</a:t>
            </a:r>
          </a:p>
          <a:p>
            <a:pPr marL="180975" indent="-180975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Change Management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</a:rPr>
              <a:t> Frameworks 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</a:rPr>
              <a:t> Communications</a:t>
            </a:r>
          </a:p>
          <a:p>
            <a:pPr marL="444500" lvl="1" indent="-84138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</a:rPr>
              <a:t> Engagement strategies </a:t>
            </a:r>
          </a:p>
          <a:p>
            <a:pPr marL="180975" indent="-180975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endParaRPr lang="en-GB" sz="800" b="0" dirty="0">
              <a:solidFill>
                <a:srgbClr val="014477"/>
              </a:solidFill>
            </a:endParaRPr>
          </a:p>
          <a:p>
            <a:pPr marL="180975" indent="-180975" algn="l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endParaRPr lang="en-US" sz="800" b="0" dirty="0">
              <a:solidFill>
                <a:srgbClr val="014477"/>
              </a:solidFill>
            </a:endParaRPr>
          </a:p>
        </p:txBody>
      </p:sp>
      <p:sp>
        <p:nvSpPr>
          <p:cNvPr id="10" name="Rectangle 120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826000" y="3171825"/>
            <a:ext cx="2085975" cy="2905125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defTabSz="542925" eaLnBrk="1" hangingPunct="1">
              <a:spcAft>
                <a:spcPct val="50000"/>
              </a:spcAft>
            </a:pPr>
            <a:r>
              <a:rPr lang="en-GB" sz="200" dirty="0" smtClean="0">
                <a:solidFill>
                  <a:srgbClr val="B00D2C"/>
                </a:solidFill>
              </a:rPr>
              <a:t> </a:t>
            </a:r>
          </a:p>
          <a:p>
            <a:pPr defTabSz="542925" eaLnBrk="1" hangingPunct="1">
              <a:spcAft>
                <a:spcPct val="50000"/>
              </a:spcAft>
            </a:pPr>
            <a:r>
              <a:rPr lang="en-GB" dirty="0" smtClean="0">
                <a:solidFill>
                  <a:srgbClr val="B00D2C"/>
                </a:solidFill>
              </a:rPr>
              <a:t>Performance</a:t>
            </a:r>
            <a:br>
              <a:rPr lang="en-GB" dirty="0" smtClean="0">
                <a:solidFill>
                  <a:srgbClr val="B00D2C"/>
                </a:solidFill>
              </a:rPr>
            </a:br>
            <a:r>
              <a:rPr lang="en-GB" dirty="0" smtClean="0">
                <a:solidFill>
                  <a:srgbClr val="B00D2C"/>
                </a:solidFill>
              </a:rPr>
              <a:t>Management</a:t>
            </a:r>
            <a:endParaRPr lang="en-US" dirty="0">
              <a:solidFill>
                <a:srgbClr val="B00D2C"/>
              </a:solidFill>
            </a:endParaRP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Design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Policie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Processe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Objective Setting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Performance Review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Training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Objective Setting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Performance Review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Performance conversations 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Personal Development Planning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Policies &amp; Processe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Capability Enhancement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Reward Linkage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Salarie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Bonuses/Incentives</a:t>
            </a:r>
          </a:p>
        </p:txBody>
      </p:sp>
      <p:sp>
        <p:nvSpPr>
          <p:cNvPr id="11" name="Rectangle 12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6927850" y="3168650"/>
            <a:ext cx="2085975" cy="2905125"/>
          </a:xfrm>
          <a:prstGeom prst="rect">
            <a:avLst/>
          </a:prstGeom>
          <a:solidFill>
            <a:schemeClr val="bg1"/>
          </a:solidFill>
          <a:ln w="3175" algn="ctr">
            <a:noFill/>
            <a:miter lim="800000"/>
            <a:headEnd/>
            <a:tailEnd/>
          </a:ln>
          <a:effectLst/>
        </p:spPr>
        <p:txBody>
          <a:bodyPr/>
          <a:lstStyle/>
          <a:p>
            <a:pPr algn="l" defTabSz="542925" eaLnBrk="1" hangingPunct="1">
              <a:spcAft>
                <a:spcPct val="50000"/>
              </a:spcAft>
            </a:pPr>
            <a:r>
              <a:rPr lang="en-GB" sz="200" dirty="0" smtClean="0">
                <a:solidFill>
                  <a:srgbClr val="B00D2C"/>
                </a:solidFill>
              </a:rPr>
              <a:t>     </a:t>
            </a:r>
          </a:p>
          <a:p>
            <a:pPr algn="l" defTabSz="542925" eaLnBrk="1" hangingPunct="1">
              <a:spcAft>
                <a:spcPct val="50000"/>
              </a:spcAft>
            </a:pPr>
            <a:r>
              <a:rPr lang="en-GB" dirty="0" smtClean="0">
                <a:solidFill>
                  <a:srgbClr val="B00D2C"/>
                </a:solidFill>
              </a:rPr>
              <a:t>     Reward</a:t>
            </a:r>
            <a:br>
              <a:rPr lang="en-GB" dirty="0" smtClean="0">
                <a:solidFill>
                  <a:srgbClr val="B00D2C"/>
                </a:solidFill>
              </a:rPr>
            </a:br>
            <a:r>
              <a:rPr lang="en-GB" dirty="0" smtClean="0">
                <a:solidFill>
                  <a:srgbClr val="B00D2C"/>
                </a:solidFill>
              </a:rPr>
              <a:t>Management</a:t>
            </a:r>
            <a:endParaRPr lang="en-US" dirty="0">
              <a:solidFill>
                <a:srgbClr val="B00D2C"/>
              </a:solidFill>
            </a:endParaRP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Total Reward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Policy &amp; Philosophy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Strategie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Components Mix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Executive Comp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Fixed &amp; Variable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Stock Plans 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Base Salary Design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Grading Structure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Performance based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Variable Comp Design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Modelling Option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Cost/Benefit Analysis</a:t>
            </a:r>
          </a:p>
          <a:p>
            <a:pPr marL="180975" indent="-180975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n"/>
            </a:pPr>
            <a:r>
              <a:rPr lang="en-GB" sz="1000" b="0" dirty="0">
                <a:solidFill>
                  <a:srgbClr val="014477"/>
                </a:solidFill>
                <a:latin typeface="Verdana" pitchFamily="34" charset="0"/>
              </a:rPr>
              <a:t>Benefits Design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 Policy &amp; Components</a:t>
            </a:r>
          </a:p>
          <a:p>
            <a:pPr marL="447675" lvl="1" indent="-87313" algn="l" defTabSz="542925" eaLnBrk="1" hangingPunct="1">
              <a:spcBef>
                <a:spcPct val="20000"/>
              </a:spcBef>
              <a:buClr>
                <a:srgbClr val="B00D2C"/>
              </a:buClr>
              <a:buFont typeface="Wingdings" pitchFamily="2" charset="2"/>
              <a:buChar char="q"/>
            </a:pPr>
            <a:r>
              <a:rPr lang="en-GB" sz="800" b="0" dirty="0">
                <a:solidFill>
                  <a:srgbClr val="014477"/>
                </a:solidFill>
                <a:latin typeface="Verdana" pitchFamily="34" charset="0"/>
              </a:rPr>
              <a:t>  Maximising Value</a:t>
            </a:r>
          </a:p>
        </p:txBody>
      </p:sp>
      <p:grpSp>
        <p:nvGrpSpPr>
          <p:cNvPr id="33" name="Group 32"/>
          <p:cNvGrpSpPr/>
          <p:nvPr/>
        </p:nvGrpSpPr>
        <p:grpSpPr>
          <a:xfrm>
            <a:off x="654925" y="1981200"/>
            <a:ext cx="1097675" cy="1219200"/>
            <a:chOff x="1739295" y="1981200"/>
            <a:chExt cx="5575905" cy="4572000"/>
          </a:xfrm>
        </p:grpSpPr>
        <p:sp>
          <p:nvSpPr>
            <p:cNvPr id="34" name="Rounded Rectangle 33"/>
            <p:cNvSpPr/>
            <p:nvPr/>
          </p:nvSpPr>
          <p:spPr>
            <a:xfrm>
              <a:off x="1739295" y="1981200"/>
              <a:ext cx="5055810" cy="4572000"/>
            </a:xfrm>
            <a:prstGeom prst="roundRect">
              <a:avLst/>
            </a:prstGeom>
            <a:solidFill>
              <a:srgbClr val="003366"/>
            </a:solidFill>
            <a:ln w="28575">
              <a:noFill/>
            </a:ln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  <a:bevelB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aphicFrame>
          <p:nvGraphicFramePr>
            <p:cNvPr id="35" name="Diagram 34"/>
            <p:cNvGraphicFramePr/>
            <p:nvPr/>
          </p:nvGraphicFramePr>
          <p:xfrm>
            <a:off x="1885951" y="3092824"/>
            <a:ext cx="5429249" cy="333487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8" r:lo="rId9" r:qs="rId10" r:cs="rId11"/>
            </a:graphicData>
          </a:graphic>
        </p:graphicFrame>
        <p:grpSp>
          <p:nvGrpSpPr>
            <p:cNvPr id="36" name="Group 81"/>
            <p:cNvGrpSpPr/>
            <p:nvPr/>
          </p:nvGrpSpPr>
          <p:grpSpPr>
            <a:xfrm>
              <a:off x="2106987" y="2286002"/>
              <a:ext cx="4412346" cy="640079"/>
              <a:chOff x="76197" y="2514600"/>
              <a:chExt cx="3657603" cy="746759"/>
            </a:xfrm>
          </p:grpSpPr>
          <p:sp>
            <p:nvSpPr>
              <p:cNvPr id="38" name="Rounded Rectangle 37"/>
              <p:cNvSpPr/>
              <p:nvPr/>
            </p:nvSpPr>
            <p:spPr>
              <a:xfrm>
                <a:off x="300041" y="2514600"/>
                <a:ext cx="3193379" cy="746759"/>
              </a:xfrm>
              <a:prstGeom prst="roundRect">
                <a:avLst/>
              </a:prstGeom>
              <a:solidFill>
                <a:srgbClr val="A50021"/>
              </a:solidFill>
              <a:scene3d>
                <a:camera prst="orthographicFront"/>
                <a:lightRig rig="threePt" dir="t">
                  <a:rot lat="0" lon="0" rev="7500000"/>
                </a:lightRig>
              </a:scene3d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9" name="TextBox 38"/>
              <p:cNvSpPr txBox="1"/>
              <p:nvPr/>
            </p:nvSpPr>
            <p:spPr>
              <a:xfrm>
                <a:off x="76197" y="2514600"/>
                <a:ext cx="3657603" cy="720255"/>
              </a:xfrm>
              <a:prstGeom prst="rect">
                <a:avLst/>
              </a:prstGeom>
              <a:noFill/>
              <a:ln>
                <a:solidFill>
                  <a:srgbClr val="003366">
                    <a:alpha val="0"/>
                  </a:srgb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500" b="1" i="1" dirty="0" smtClean="0">
                    <a:solidFill>
                      <a:schemeClr val="bg1"/>
                    </a:solidFill>
                  </a:rPr>
                  <a:t>InvolveHR</a:t>
                </a:r>
                <a:r>
                  <a:rPr lang="en-US" sz="500" b="1" dirty="0" smtClean="0">
                    <a:solidFill>
                      <a:schemeClr val="bg1"/>
                    </a:solidFill>
                  </a:rPr>
                  <a:t> Core Services</a:t>
                </a:r>
                <a:endParaRPr lang="en-GB" sz="500" b="1" dirty="0" smtClean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37" name="Straight Connector 36"/>
            <p:cNvCxnSpPr/>
            <p:nvPr/>
          </p:nvCxnSpPr>
          <p:spPr>
            <a:xfrm>
              <a:off x="1831220" y="2926080"/>
              <a:ext cx="4871961" cy="0"/>
            </a:xfrm>
            <a:prstGeom prst="line">
              <a:avLst/>
            </a:prstGeom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/>
          <p:cNvGrpSpPr/>
          <p:nvPr/>
        </p:nvGrpSpPr>
        <p:grpSpPr>
          <a:xfrm>
            <a:off x="2743200" y="1981200"/>
            <a:ext cx="1143000" cy="1253613"/>
            <a:chOff x="1524001" y="1981200"/>
            <a:chExt cx="5429249" cy="4572000"/>
          </a:xfrm>
        </p:grpSpPr>
        <p:sp>
          <p:nvSpPr>
            <p:cNvPr id="55" name="Rounded Rectangle 54"/>
            <p:cNvSpPr/>
            <p:nvPr/>
          </p:nvSpPr>
          <p:spPr>
            <a:xfrm>
              <a:off x="1739295" y="1981200"/>
              <a:ext cx="5055810" cy="4572000"/>
            </a:xfrm>
            <a:prstGeom prst="roundRect">
              <a:avLst/>
            </a:prstGeom>
            <a:solidFill>
              <a:srgbClr val="003366"/>
            </a:solidFill>
            <a:ln w="28575">
              <a:noFill/>
            </a:ln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  <a:bevelB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aphicFrame>
          <p:nvGraphicFramePr>
            <p:cNvPr id="56" name="Diagram 55"/>
            <p:cNvGraphicFramePr/>
            <p:nvPr/>
          </p:nvGraphicFramePr>
          <p:xfrm>
            <a:off x="1524001" y="2940424"/>
            <a:ext cx="5429249" cy="333487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13" r:lo="rId14" r:qs="rId15" r:cs="rId16"/>
            </a:graphicData>
          </a:graphic>
        </p:graphicFrame>
        <p:grpSp>
          <p:nvGrpSpPr>
            <p:cNvPr id="57" name="Group 81"/>
            <p:cNvGrpSpPr/>
            <p:nvPr/>
          </p:nvGrpSpPr>
          <p:grpSpPr>
            <a:xfrm>
              <a:off x="2106987" y="2286002"/>
              <a:ext cx="4412346" cy="699678"/>
              <a:chOff x="76197" y="2514600"/>
              <a:chExt cx="3657603" cy="816291"/>
            </a:xfrm>
          </p:grpSpPr>
          <p:sp>
            <p:nvSpPr>
              <p:cNvPr id="59" name="Rounded Rectangle 58"/>
              <p:cNvSpPr/>
              <p:nvPr/>
            </p:nvSpPr>
            <p:spPr>
              <a:xfrm>
                <a:off x="300041" y="2514600"/>
                <a:ext cx="3193379" cy="746759"/>
              </a:xfrm>
              <a:prstGeom prst="roundRect">
                <a:avLst/>
              </a:prstGeom>
              <a:solidFill>
                <a:srgbClr val="A50021"/>
              </a:solidFill>
              <a:scene3d>
                <a:camera prst="orthographicFront"/>
                <a:lightRig rig="threePt" dir="t">
                  <a:rot lat="0" lon="0" rev="7500000"/>
                </a:lightRig>
              </a:scene3d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0" name="TextBox 59"/>
              <p:cNvSpPr txBox="1"/>
              <p:nvPr/>
            </p:nvSpPr>
            <p:spPr>
              <a:xfrm>
                <a:off x="76197" y="2514600"/>
                <a:ext cx="3657603" cy="816291"/>
              </a:xfrm>
              <a:prstGeom prst="rect">
                <a:avLst/>
              </a:prstGeom>
              <a:noFill/>
              <a:ln>
                <a:solidFill>
                  <a:srgbClr val="003366">
                    <a:alpha val="0"/>
                  </a:srgb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500" b="1" i="1" dirty="0" smtClean="0">
                    <a:solidFill>
                      <a:schemeClr val="bg1"/>
                    </a:solidFill>
                  </a:rPr>
                  <a:t>InvolveHR</a:t>
                </a:r>
                <a:r>
                  <a:rPr lang="en-US" sz="500" b="1" dirty="0" smtClean="0">
                    <a:solidFill>
                      <a:schemeClr val="bg1"/>
                    </a:solidFill>
                  </a:rPr>
                  <a:t> Core Services</a:t>
                </a:r>
                <a:endParaRPr lang="en-GB" sz="500" b="1" dirty="0" smtClean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58" name="Straight Connector 57"/>
            <p:cNvCxnSpPr/>
            <p:nvPr/>
          </p:nvCxnSpPr>
          <p:spPr>
            <a:xfrm>
              <a:off x="1831220" y="2926080"/>
              <a:ext cx="4871961" cy="0"/>
            </a:xfrm>
            <a:prstGeom prst="line">
              <a:avLst/>
            </a:prstGeom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Rounded Rectangle 75"/>
          <p:cNvSpPr/>
          <p:nvPr/>
        </p:nvSpPr>
        <p:spPr>
          <a:xfrm>
            <a:off x="4998325" y="1981200"/>
            <a:ext cx="1064381" cy="1253613"/>
          </a:xfrm>
          <a:prstGeom prst="roundRect">
            <a:avLst/>
          </a:prstGeom>
          <a:solidFill>
            <a:srgbClr val="003366"/>
          </a:solidFill>
          <a:ln w="28575">
            <a:noFill/>
          </a:ln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  <a:bevelB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aphicFrame>
        <p:nvGraphicFramePr>
          <p:cNvPr id="77" name="Diagram 76"/>
          <p:cNvGraphicFramePr/>
          <p:nvPr/>
        </p:nvGraphicFramePr>
        <p:xfrm>
          <a:off x="5029200" y="2286000"/>
          <a:ext cx="990600" cy="914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pSp>
        <p:nvGrpSpPr>
          <p:cNvPr id="78" name="Group 81"/>
          <p:cNvGrpSpPr/>
          <p:nvPr/>
        </p:nvGrpSpPr>
        <p:grpSpPr>
          <a:xfrm>
            <a:off x="5056383" y="2064774"/>
            <a:ext cx="948267" cy="174406"/>
            <a:chOff x="0" y="2514600"/>
            <a:chExt cx="3733800" cy="742080"/>
          </a:xfrm>
        </p:grpSpPr>
        <p:sp>
          <p:nvSpPr>
            <p:cNvPr id="80" name="Rounded Rectangle 79"/>
            <p:cNvSpPr/>
            <p:nvPr/>
          </p:nvSpPr>
          <p:spPr>
            <a:xfrm>
              <a:off x="0" y="2514600"/>
              <a:ext cx="3733800" cy="533400"/>
            </a:xfrm>
            <a:prstGeom prst="roundRect">
              <a:avLst/>
            </a:prstGeom>
            <a:solidFill>
              <a:srgbClr val="A50021"/>
            </a:solidFill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  <a:bevelB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1" name="TextBox 80"/>
            <p:cNvSpPr txBox="1"/>
            <p:nvPr/>
          </p:nvSpPr>
          <p:spPr>
            <a:xfrm>
              <a:off x="76199" y="2514600"/>
              <a:ext cx="3657601" cy="742080"/>
            </a:xfrm>
            <a:prstGeom prst="rect">
              <a:avLst/>
            </a:prstGeom>
            <a:noFill/>
            <a:ln>
              <a:solidFill>
                <a:srgbClr val="003366">
                  <a:alpha val="0"/>
                </a:srgbClr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400" b="1" i="1" dirty="0" smtClean="0">
                  <a:solidFill>
                    <a:schemeClr val="bg1"/>
                  </a:solidFill>
                </a:rPr>
                <a:t>InvolveHR</a:t>
              </a:r>
              <a:r>
                <a:rPr lang="en-US" sz="400" b="1" dirty="0" smtClean="0">
                  <a:solidFill>
                    <a:schemeClr val="bg1"/>
                  </a:solidFill>
                </a:rPr>
                <a:t> Core Services</a:t>
              </a:r>
              <a:endParaRPr lang="en-GB" sz="400" b="1" dirty="0" smtClean="0">
                <a:solidFill>
                  <a:schemeClr val="bg1"/>
                </a:solidFill>
              </a:endParaRPr>
            </a:p>
          </p:txBody>
        </p:sp>
      </p:grpSp>
      <p:cxnSp>
        <p:nvCxnSpPr>
          <p:cNvPr id="79" name="Straight Connector 78"/>
          <p:cNvCxnSpPr/>
          <p:nvPr/>
        </p:nvCxnSpPr>
        <p:spPr>
          <a:xfrm>
            <a:off x="5029200" y="2240280"/>
            <a:ext cx="1025677" cy="0"/>
          </a:xfrm>
          <a:prstGeom prst="line">
            <a:avLst/>
          </a:prstGeom>
          <a:ln w="28575"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3" name="Group 82"/>
          <p:cNvGrpSpPr/>
          <p:nvPr/>
        </p:nvGrpSpPr>
        <p:grpSpPr>
          <a:xfrm>
            <a:off x="7134758" y="1981200"/>
            <a:ext cx="1094842" cy="1295400"/>
            <a:chOff x="1739295" y="1981200"/>
            <a:chExt cx="5235246" cy="4572000"/>
          </a:xfrm>
        </p:grpSpPr>
        <p:sp>
          <p:nvSpPr>
            <p:cNvPr id="84" name="Rounded Rectangle 83"/>
            <p:cNvSpPr/>
            <p:nvPr/>
          </p:nvSpPr>
          <p:spPr>
            <a:xfrm>
              <a:off x="1739295" y="1981200"/>
              <a:ext cx="5055810" cy="4572000"/>
            </a:xfrm>
            <a:prstGeom prst="roundRect">
              <a:avLst/>
            </a:prstGeom>
            <a:solidFill>
              <a:srgbClr val="003366"/>
            </a:solidFill>
            <a:ln w="28575">
              <a:noFill/>
            </a:ln>
            <a:scene3d>
              <a:camera prst="orthographicFront"/>
              <a:lightRig rig="threePt" dir="t">
                <a:rot lat="0" lon="0" rev="7500000"/>
              </a:lightRig>
            </a:scene3d>
            <a:sp3d prstMaterial="plastic">
              <a:bevelT w="127000" h="25400" prst="relaxedInset"/>
              <a:bevelB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graphicFrame>
          <p:nvGraphicFramePr>
            <p:cNvPr id="85" name="Diagram 84"/>
            <p:cNvGraphicFramePr/>
            <p:nvPr/>
          </p:nvGraphicFramePr>
          <p:xfrm>
            <a:off x="2205318" y="2814918"/>
            <a:ext cx="4769223" cy="3334870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3" r:lo="rId24" r:qs="rId25" r:cs="rId26"/>
            </a:graphicData>
          </a:graphic>
        </p:graphicFrame>
        <p:grpSp>
          <p:nvGrpSpPr>
            <p:cNvPr id="86" name="Group 81"/>
            <p:cNvGrpSpPr/>
            <p:nvPr/>
          </p:nvGrpSpPr>
          <p:grpSpPr>
            <a:xfrm>
              <a:off x="2015067" y="2286004"/>
              <a:ext cx="4504267" cy="681505"/>
              <a:chOff x="0" y="2514600"/>
              <a:chExt cx="3733800" cy="795088"/>
            </a:xfrm>
          </p:grpSpPr>
          <p:sp>
            <p:nvSpPr>
              <p:cNvPr id="88" name="Rounded Rectangle 87"/>
              <p:cNvSpPr/>
              <p:nvPr/>
            </p:nvSpPr>
            <p:spPr>
              <a:xfrm>
                <a:off x="0" y="2514600"/>
                <a:ext cx="3733800" cy="533400"/>
              </a:xfrm>
              <a:prstGeom prst="roundRect">
                <a:avLst/>
              </a:prstGeom>
              <a:solidFill>
                <a:srgbClr val="A50021"/>
              </a:solidFill>
              <a:scene3d>
                <a:camera prst="orthographicFront"/>
                <a:lightRig rig="threePt" dir="t">
                  <a:rot lat="0" lon="0" rev="7500000"/>
                </a:lightRig>
              </a:scene3d>
              <a:sp3d prstMaterial="plastic">
                <a:bevelT w="127000" h="25400" prst="relaxedInset"/>
                <a:bevelB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9" name="TextBox 88"/>
              <p:cNvSpPr txBox="1"/>
              <p:nvPr/>
            </p:nvSpPr>
            <p:spPr>
              <a:xfrm>
                <a:off x="76198" y="2514600"/>
                <a:ext cx="3657602" cy="795088"/>
              </a:xfrm>
              <a:prstGeom prst="rect">
                <a:avLst/>
              </a:prstGeom>
              <a:noFill/>
              <a:ln>
                <a:solidFill>
                  <a:srgbClr val="003366">
                    <a:alpha val="0"/>
                  </a:srgb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400" b="1" i="1" dirty="0" smtClean="0">
                    <a:solidFill>
                      <a:schemeClr val="bg1"/>
                    </a:solidFill>
                  </a:rPr>
                  <a:t>InvolveHR</a:t>
                </a:r>
                <a:r>
                  <a:rPr lang="en-US" sz="400" b="1" dirty="0" smtClean="0">
                    <a:solidFill>
                      <a:schemeClr val="bg1"/>
                    </a:solidFill>
                  </a:rPr>
                  <a:t> Core Services</a:t>
                </a:r>
                <a:endParaRPr lang="en-GB" sz="400" b="1" dirty="0" smtClean="0">
                  <a:solidFill>
                    <a:schemeClr val="bg1"/>
                  </a:solidFill>
                </a:endParaRPr>
              </a:p>
            </p:txBody>
          </p:sp>
        </p:grpSp>
        <p:cxnSp>
          <p:nvCxnSpPr>
            <p:cNvPr id="87" name="Straight Connector 86"/>
            <p:cNvCxnSpPr/>
            <p:nvPr/>
          </p:nvCxnSpPr>
          <p:spPr>
            <a:xfrm>
              <a:off x="1831219" y="2819400"/>
              <a:ext cx="4871962" cy="0"/>
            </a:xfrm>
            <a:prstGeom prst="line">
              <a:avLst/>
            </a:prstGeom>
            <a:ln w="28575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3733800" y="990600"/>
            <a:ext cx="2590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smtClean="0">
                <a:solidFill>
                  <a:schemeClr val="bg1"/>
                </a:solidFill>
              </a:rPr>
              <a:t>CONSULTING TEAM</a:t>
            </a:r>
            <a:endParaRPr lang="en-GB" sz="2000" b="1" dirty="0">
              <a:solidFill>
                <a:schemeClr val="bg1"/>
              </a:solidFill>
            </a:endParaRPr>
          </a:p>
        </p:txBody>
      </p:sp>
      <p:sp>
        <p:nvSpPr>
          <p:cNvPr id="25" name="Title 2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228600" y="164068"/>
            <a:ext cx="8686800" cy="1241425"/>
          </a:xfrm>
          <a:prstGeom prst="rect">
            <a:avLst/>
          </a:prstGeom>
          <a:solidFill>
            <a:srgbClr val="003366"/>
          </a:solidFill>
          <a:ln>
            <a:solidFill>
              <a:schemeClr val="tx2"/>
            </a:solidFill>
          </a:ln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lvl="0">
              <a:spcBef>
                <a:spcPct val="0"/>
              </a:spcBef>
            </a:pPr>
            <a:r>
              <a:rPr lang="en-GB" sz="6000" dirty="0" smtClean="0">
                <a:solidFill>
                  <a:schemeClr val="bg1"/>
                </a:solidFill>
              </a:rPr>
              <a:t>Service Delivery</a:t>
            </a:r>
            <a:br>
              <a:rPr lang="en-GB" sz="6000" dirty="0" smtClean="0">
                <a:solidFill>
                  <a:schemeClr val="bg1"/>
                </a:solidFill>
              </a:rPr>
            </a:br>
            <a:r>
              <a:rPr lang="en-GB" sz="4400" dirty="0" smtClean="0">
                <a:solidFill>
                  <a:schemeClr val="bg1"/>
                </a:solidFill>
              </a:rPr>
              <a:t>- Working in Partnership</a:t>
            </a:r>
            <a:endParaRPr kumimoji="0" lang="en-GB" sz="4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28600" y="1383268"/>
            <a:ext cx="8686800" cy="36933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en-GB" b="1" dirty="0">
              <a:solidFill>
                <a:srgbClr val="003366"/>
              </a:solidFill>
            </a:endParaRPr>
          </a:p>
        </p:txBody>
      </p:sp>
      <p:pic>
        <p:nvPicPr>
          <p:cNvPr id="28" name="Picture 3" descr="IHRlogo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00784" y="60155"/>
            <a:ext cx="1190816" cy="88192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9" name="Straight Connector 28"/>
          <p:cNvCxnSpPr/>
          <p:nvPr/>
        </p:nvCxnSpPr>
        <p:spPr>
          <a:xfrm>
            <a:off x="228600" y="6781800"/>
            <a:ext cx="8686800" cy="0"/>
          </a:xfrm>
          <a:prstGeom prst="line">
            <a:avLst/>
          </a:prstGeom>
          <a:ln w="25400" cmpd="sng">
            <a:solidFill>
              <a:srgbClr val="CC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3" name="Group 42"/>
          <p:cNvGrpSpPr/>
          <p:nvPr/>
        </p:nvGrpSpPr>
        <p:grpSpPr>
          <a:xfrm>
            <a:off x="228600" y="1905000"/>
            <a:ext cx="8534400" cy="4724400"/>
            <a:chOff x="0" y="1672223"/>
            <a:chExt cx="9143999" cy="5566777"/>
          </a:xfrm>
        </p:grpSpPr>
        <p:grpSp>
          <p:nvGrpSpPr>
            <p:cNvPr id="42" name="Group 41"/>
            <p:cNvGrpSpPr/>
            <p:nvPr/>
          </p:nvGrpSpPr>
          <p:grpSpPr>
            <a:xfrm>
              <a:off x="0" y="1672223"/>
              <a:ext cx="9143999" cy="5566777"/>
              <a:chOff x="0" y="1672223"/>
              <a:chExt cx="9143999" cy="5566777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0" y="1672223"/>
                <a:ext cx="9143999" cy="5566777"/>
                <a:chOff x="-157941" y="1210130"/>
                <a:chExt cx="9310251" cy="5740738"/>
              </a:xfrm>
            </p:grpSpPr>
            <p:grpSp>
              <p:nvGrpSpPr>
                <p:cNvPr id="19" name="Group 18"/>
                <p:cNvGrpSpPr/>
                <p:nvPr/>
              </p:nvGrpSpPr>
              <p:grpSpPr>
                <a:xfrm>
                  <a:off x="-157941" y="1210130"/>
                  <a:ext cx="9310251" cy="5740738"/>
                  <a:chOff x="-193962" y="735805"/>
                  <a:chExt cx="10390903" cy="6349604"/>
                </a:xfrm>
              </p:grpSpPr>
              <p:sp>
                <p:nvSpPr>
                  <p:cNvPr id="16" name="Oval 15"/>
                  <p:cNvSpPr/>
                  <p:nvPr/>
                </p:nvSpPr>
                <p:spPr>
                  <a:xfrm>
                    <a:off x="-193962" y="735805"/>
                    <a:ext cx="10390903" cy="6175772"/>
                  </a:xfrm>
                  <a:prstGeom prst="ellipse">
                    <a:avLst/>
                  </a:prstGeom>
                  <a:solidFill>
                    <a:srgbClr val="A50021"/>
                  </a:solidFill>
                  <a:scene3d>
                    <a:camera prst="orthographicFront"/>
                    <a:lightRig rig="flat" dir="t"/>
                  </a:scene3d>
                  <a:sp3d prstMaterial="plastic">
                    <a:bevelT w="120900" h="88900"/>
                    <a:bevelB w="88900" h="31750" prst="angle"/>
                  </a:sp3d>
                </p:spPr>
                <p:style>
                  <a:lnRef idx="0">
                    <a:schemeClr val="lt1">
                      <a:hueOff val="0"/>
                      <a:satOff val="0"/>
                      <a:lumOff val="0"/>
                      <a:alphaOff val="0"/>
                    </a:schemeClr>
                  </a:lnRef>
                  <a:fillRef idx="3">
                    <a:scrgbClr r="0" g="0" b="0"/>
                  </a:fillRef>
                  <a:effectRef idx="2">
                    <a:schemeClr val="accent1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graphicFrame>
                <p:nvGraphicFramePr>
                  <p:cNvPr id="3" name="Diagram 2"/>
                  <p:cNvGraphicFramePr/>
                  <p:nvPr/>
                </p:nvGraphicFramePr>
                <p:xfrm>
                  <a:off x="152401" y="1262062"/>
                  <a:ext cx="9784771" cy="5823347"/>
                </p:xfrm>
                <a:graphic>
                  <a:graphicData uri="http://schemas.openxmlformats.org/drawingml/2006/diagram">
                    <dgm:relIds xmlns:dgm="http://schemas.openxmlformats.org/drawingml/2006/diagram" xmlns:r="http://schemas.openxmlformats.org/officeDocument/2006/relationships" r:dm="rId3" r:lo="rId4" r:qs="rId5" r:cs="rId6"/>
                  </a:graphicData>
                </a:graphic>
              </p:graphicFrame>
            </p:grpSp>
            <p:sp>
              <p:nvSpPr>
                <p:cNvPr id="4" name="TextBox 3"/>
                <p:cNvSpPr txBox="1"/>
                <p:nvPr/>
              </p:nvSpPr>
              <p:spPr>
                <a:xfrm>
                  <a:off x="3643745" y="1843088"/>
                  <a:ext cx="1295400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1.</a:t>
                  </a:r>
                </a:p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Define</a:t>
                  </a:r>
                  <a:br>
                    <a:rPr lang="en-US" sz="1600" b="1" dirty="0" smtClean="0">
                      <a:solidFill>
                        <a:schemeClr val="bg1"/>
                      </a:solidFill>
                    </a:rPr>
                  </a:br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Objectives</a:t>
                  </a:r>
                  <a:endParaRPr lang="en-GB" sz="16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5" name="TextBox 4"/>
                <p:cNvSpPr txBox="1"/>
                <p:nvPr/>
              </p:nvSpPr>
              <p:spPr>
                <a:xfrm>
                  <a:off x="5428211" y="2235994"/>
                  <a:ext cx="1524000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2.</a:t>
                  </a:r>
                </a:p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Analyse Alternatives</a:t>
                  </a:r>
                  <a:endParaRPr lang="en-GB" sz="16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7" name="TextBox 6"/>
                <p:cNvSpPr txBox="1"/>
                <p:nvPr/>
              </p:nvSpPr>
              <p:spPr>
                <a:xfrm>
                  <a:off x="5999018" y="3336132"/>
                  <a:ext cx="1524000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3.</a:t>
                  </a:r>
                </a:p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Model</a:t>
                  </a:r>
                  <a:br>
                    <a:rPr lang="en-US" sz="1600" b="1" dirty="0" smtClean="0">
                      <a:solidFill>
                        <a:schemeClr val="bg1"/>
                      </a:solidFill>
                    </a:rPr>
                  </a:br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 Outcomes</a:t>
                  </a:r>
                  <a:endParaRPr lang="en-GB" sz="16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8" name="TextBox 7"/>
                <p:cNvSpPr txBox="1"/>
                <p:nvPr/>
              </p:nvSpPr>
              <p:spPr>
                <a:xfrm>
                  <a:off x="4497185" y="4279107"/>
                  <a:ext cx="1524000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4.</a:t>
                  </a:r>
                </a:p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Determine Actions</a:t>
                  </a:r>
                  <a:endParaRPr lang="en-GB" sz="16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9" name="TextBox 8"/>
                <p:cNvSpPr txBox="1"/>
                <p:nvPr/>
              </p:nvSpPr>
              <p:spPr>
                <a:xfrm>
                  <a:off x="2402378" y="4200525"/>
                  <a:ext cx="1752600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5.</a:t>
                  </a:r>
                </a:p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Implementation</a:t>
                  </a:r>
                  <a:br>
                    <a:rPr lang="en-US" sz="1600" b="1" dirty="0" smtClean="0">
                      <a:solidFill>
                        <a:schemeClr val="bg1"/>
                      </a:solidFill>
                    </a:rPr>
                  </a:br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Planning</a:t>
                  </a:r>
                  <a:endParaRPr lang="en-GB" sz="16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0" name="TextBox 9"/>
                <p:cNvSpPr txBox="1"/>
                <p:nvPr/>
              </p:nvSpPr>
              <p:spPr>
                <a:xfrm>
                  <a:off x="1238596" y="3336132"/>
                  <a:ext cx="1241367" cy="856966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6.</a:t>
                  </a:r>
                </a:p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Execute </a:t>
                  </a:r>
                  <a:br>
                    <a:rPr lang="en-US" sz="1600" b="1" dirty="0" smtClean="0">
                      <a:solidFill>
                        <a:schemeClr val="bg1"/>
                      </a:solidFill>
                    </a:rPr>
                  </a:br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Plan</a:t>
                  </a:r>
                  <a:endParaRPr lang="en-GB" sz="16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1" name="TextBox 10"/>
                <p:cNvSpPr txBox="1"/>
                <p:nvPr/>
              </p:nvSpPr>
              <p:spPr>
                <a:xfrm>
                  <a:off x="1704109" y="2393157"/>
                  <a:ext cx="1447799" cy="83099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7.</a:t>
                  </a:r>
                </a:p>
                <a:p>
                  <a:pPr algn="ctr"/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Measure </a:t>
                  </a:r>
                  <a:br>
                    <a:rPr lang="en-US" sz="1600" b="1" dirty="0" smtClean="0">
                      <a:solidFill>
                        <a:schemeClr val="bg1"/>
                      </a:solidFill>
                    </a:rPr>
                  </a:br>
                  <a:r>
                    <a:rPr lang="en-US" sz="1600" b="1" dirty="0" smtClean="0">
                      <a:solidFill>
                        <a:schemeClr val="bg1"/>
                      </a:solidFill>
                    </a:rPr>
                    <a:t>Results</a:t>
                  </a:r>
                  <a:endParaRPr lang="en-GB" sz="1600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2" name="TextBox 11"/>
                <p:cNvSpPr txBox="1"/>
                <p:nvPr/>
              </p:nvSpPr>
              <p:spPr>
                <a:xfrm>
                  <a:off x="2945476" y="5693567"/>
                  <a:ext cx="3025832" cy="38087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b="1" dirty="0" smtClean="0">
                      <a:solidFill>
                        <a:schemeClr val="bg1"/>
                      </a:solidFill>
                    </a:rPr>
                    <a:t>CLIENT TEAM</a:t>
                  </a:r>
                  <a:endParaRPr lang="en-GB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13" name="TextBox 12"/>
                <p:cNvSpPr txBox="1"/>
                <p:nvPr/>
              </p:nvSpPr>
              <p:spPr>
                <a:xfrm>
                  <a:off x="2324793" y="6243636"/>
                  <a:ext cx="4396046" cy="66652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b="1" dirty="0" smtClean="0">
                      <a:solidFill>
                        <a:schemeClr val="bg1"/>
                      </a:solidFill>
                    </a:rPr>
                    <a:t>IMPLEMENTATION</a:t>
                  </a:r>
                  <a:br>
                    <a:rPr lang="en-US" b="1" dirty="0" smtClean="0">
                      <a:solidFill>
                        <a:schemeClr val="bg1"/>
                      </a:solidFill>
                    </a:rPr>
                  </a:br>
                  <a:r>
                    <a:rPr lang="en-US" b="1" dirty="0" smtClean="0">
                      <a:solidFill>
                        <a:schemeClr val="bg1"/>
                      </a:solidFill>
                    </a:rPr>
                    <a:t>PROJECT TEAM</a:t>
                  </a:r>
                  <a:endParaRPr lang="en-GB" b="1" dirty="0">
                    <a:solidFill>
                      <a:schemeClr val="bg1"/>
                    </a:solidFill>
                  </a:endParaRPr>
                </a:p>
              </p:txBody>
            </p:sp>
            <p:sp>
              <p:nvSpPr>
                <p:cNvPr id="20" name="TextBox 19"/>
                <p:cNvSpPr txBox="1"/>
                <p:nvPr/>
              </p:nvSpPr>
              <p:spPr>
                <a:xfrm>
                  <a:off x="3149137" y="1293018"/>
                  <a:ext cx="2667000" cy="38087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b="1" dirty="0" smtClean="0">
                      <a:solidFill>
                        <a:schemeClr val="bg1"/>
                      </a:solidFill>
                    </a:rPr>
                    <a:t>CONSULTING TEAM</a:t>
                  </a:r>
                  <a:endParaRPr lang="en-GB" b="1" dirty="0">
                    <a:solidFill>
                      <a:schemeClr val="bg1"/>
                    </a:solidFill>
                  </a:endParaRPr>
                </a:p>
              </p:txBody>
            </p:sp>
          </p:grpSp>
          <p:sp>
            <p:nvSpPr>
              <p:cNvPr id="30" name="AutoShape 6"/>
              <p:cNvSpPr>
                <a:spLocks noChangeArrowheads="1"/>
              </p:cNvSpPr>
              <p:nvPr/>
            </p:nvSpPr>
            <p:spPr bwMode="auto">
              <a:xfrm rot="-843310">
                <a:off x="2763018" y="2483511"/>
                <a:ext cx="1034882" cy="290779"/>
              </a:xfrm>
              <a:prstGeom prst="curvedDownArrow">
                <a:avLst>
                  <a:gd name="adj1" fmla="val 64618"/>
                  <a:gd name="adj2" fmla="val 158427"/>
                  <a:gd name="adj3" fmla="val 51685"/>
                </a:avLst>
              </a:prstGeom>
              <a:solidFill>
                <a:schemeClr val="bg1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1" name="AutoShape 7"/>
              <p:cNvSpPr>
                <a:spLocks noChangeArrowheads="1"/>
              </p:cNvSpPr>
              <p:nvPr/>
            </p:nvSpPr>
            <p:spPr bwMode="auto">
              <a:xfrm rot="1016405">
                <a:off x="4894961" y="2434362"/>
                <a:ext cx="1060450" cy="282575"/>
              </a:xfrm>
              <a:prstGeom prst="curvedDownArrow">
                <a:avLst>
                  <a:gd name="adj1" fmla="val 61226"/>
                  <a:gd name="adj2" fmla="val 150112"/>
                  <a:gd name="adj3" fmla="val 51685"/>
                </a:avLst>
              </a:prstGeom>
              <a:solidFill>
                <a:schemeClr val="bg1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2" name="AutoShape 10"/>
              <p:cNvSpPr>
                <a:spLocks noChangeArrowheads="1"/>
              </p:cNvSpPr>
              <p:nvPr/>
            </p:nvSpPr>
            <p:spPr bwMode="auto">
              <a:xfrm rot="20220983">
                <a:off x="7083670" y="3309993"/>
                <a:ext cx="340776" cy="834876"/>
              </a:xfrm>
              <a:prstGeom prst="curvedLeftArrow">
                <a:avLst>
                  <a:gd name="adj1" fmla="val 59106"/>
                  <a:gd name="adj2" fmla="val 118213"/>
                  <a:gd name="adj3" fmla="val 33333"/>
                </a:avLst>
              </a:prstGeom>
              <a:solidFill>
                <a:schemeClr val="bg1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3" name="AutoShape 9"/>
              <p:cNvSpPr>
                <a:spLocks noChangeArrowheads="1"/>
              </p:cNvSpPr>
              <p:nvPr/>
            </p:nvSpPr>
            <p:spPr bwMode="auto">
              <a:xfrm rot="19620373" flipH="1" flipV="1">
                <a:off x="5894983" y="4778851"/>
                <a:ext cx="866285" cy="285672"/>
              </a:xfrm>
              <a:prstGeom prst="curvedDownArrow">
                <a:avLst>
                  <a:gd name="adj1" fmla="val 57194"/>
                  <a:gd name="adj2" fmla="val 140225"/>
                  <a:gd name="adj3" fmla="val 51685"/>
                </a:avLst>
              </a:prstGeom>
              <a:solidFill>
                <a:schemeClr val="bg1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4" name="AutoShape 27"/>
              <p:cNvSpPr>
                <a:spLocks noChangeArrowheads="1"/>
              </p:cNvSpPr>
              <p:nvPr/>
            </p:nvSpPr>
            <p:spPr bwMode="auto">
              <a:xfrm rot="21753904" flipH="1" flipV="1">
                <a:off x="3967963" y="5277373"/>
                <a:ext cx="880755" cy="268353"/>
              </a:xfrm>
              <a:prstGeom prst="curvedDownArrow">
                <a:avLst>
                  <a:gd name="adj1" fmla="val 60585"/>
                  <a:gd name="adj2" fmla="val 148539"/>
                  <a:gd name="adj3" fmla="val 51685"/>
                </a:avLst>
              </a:prstGeom>
              <a:solidFill>
                <a:schemeClr val="bg1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5" name="AutoShape 8"/>
              <p:cNvSpPr>
                <a:spLocks noChangeArrowheads="1"/>
              </p:cNvSpPr>
              <p:nvPr/>
            </p:nvSpPr>
            <p:spPr bwMode="auto">
              <a:xfrm rot="1825934" flipH="1" flipV="1">
                <a:off x="1773328" y="4668869"/>
                <a:ext cx="762000" cy="289101"/>
              </a:xfrm>
              <a:prstGeom prst="curvedDownArrow">
                <a:avLst>
                  <a:gd name="adj1" fmla="val 60585"/>
                  <a:gd name="adj2" fmla="val 148539"/>
                  <a:gd name="adj3" fmla="val 51685"/>
                </a:avLst>
              </a:prstGeom>
              <a:solidFill>
                <a:schemeClr val="bg1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6" name="AutoShape 11"/>
              <p:cNvSpPr>
                <a:spLocks noChangeArrowheads="1"/>
              </p:cNvSpPr>
              <p:nvPr/>
            </p:nvSpPr>
            <p:spPr bwMode="auto">
              <a:xfrm rot="2156451" flipH="1" flipV="1">
                <a:off x="1438607" y="3280056"/>
                <a:ext cx="284163" cy="839787"/>
              </a:xfrm>
              <a:prstGeom prst="curvedLeftArrow">
                <a:avLst>
                  <a:gd name="adj1" fmla="val 59106"/>
                  <a:gd name="adj2" fmla="val 118212"/>
                  <a:gd name="adj3" fmla="val 33333"/>
                </a:avLst>
              </a:prstGeom>
              <a:solidFill>
                <a:schemeClr val="bg1"/>
              </a:solidFill>
              <a:ln w="9525">
                <a:solidFill>
                  <a:srgbClr val="4D4D4D"/>
                </a:solidFill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38" name="Oval 37"/>
              <p:cNvSpPr/>
              <p:nvPr/>
            </p:nvSpPr>
            <p:spPr>
              <a:xfrm>
                <a:off x="2895600" y="3429000"/>
                <a:ext cx="3024555" cy="1219200"/>
              </a:xfrm>
              <a:prstGeom prst="ellipse">
                <a:avLst/>
              </a:prstGeom>
              <a:solidFill>
                <a:srgbClr val="A50021"/>
              </a:solidFill>
              <a:scene3d>
                <a:camera prst="orthographicFront"/>
                <a:lightRig rig="flat" dir="t"/>
              </a:scene3d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rgbClr r="0" g="0" b="0"/>
              </a:fillRef>
              <a:effectRef idx="2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sp>
          <p:nvSpPr>
            <p:cNvPr id="40" name="TextBox 39"/>
            <p:cNvSpPr txBox="1"/>
            <p:nvPr/>
          </p:nvSpPr>
          <p:spPr>
            <a:xfrm>
              <a:off x="3048000" y="3657600"/>
              <a:ext cx="2667000" cy="652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 dirty="0" smtClean="0">
                  <a:solidFill>
                    <a:schemeClr val="bg1"/>
                  </a:solidFill>
                </a:rPr>
                <a:t>SERVICE DELIVERY</a:t>
              </a:r>
            </a:p>
            <a:p>
              <a:r>
                <a:rPr lang="en-US" sz="1400" b="1" dirty="0" smtClean="0">
                  <a:solidFill>
                    <a:schemeClr val="bg1"/>
                  </a:solidFill>
                </a:rPr>
                <a:t>- WORKING IN PARTNERSHIP</a:t>
              </a:r>
              <a:endParaRPr lang="en-GB" sz="1400" b="1" dirty="0">
                <a:solidFill>
                  <a:schemeClr val="bg1"/>
                </a:solidFill>
              </a:endParaRPr>
            </a:p>
          </p:txBody>
        </p:sp>
      </p:grp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T0Y6aIYUOV1N.qM3XM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tsVmjJI0SVeuog_Bpv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T0Y6aIYUOV1N.qM3XM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T0Y6aIYUOV1N.qM3XMC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06</TotalTime>
  <Words>538</Words>
  <Application>Microsoft Office PowerPoint</Application>
  <PresentationFormat>On-screen Show (4:3)</PresentationFormat>
  <Paragraphs>261</Paragraphs>
  <Slides>20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1" baseType="lpstr">
      <vt:lpstr>Office Theme</vt:lpstr>
      <vt:lpstr>Firm Overview &amp; Services  An Introduction                          Dermot Hand </vt:lpstr>
      <vt:lpstr>   Overview</vt:lpstr>
      <vt:lpstr>Slide 3</vt:lpstr>
      <vt:lpstr>HR’s Unique Contribution</vt:lpstr>
      <vt:lpstr>Firm Overview  - What We Do</vt:lpstr>
      <vt:lpstr>Slide 6</vt:lpstr>
      <vt:lpstr>Client Services Overview </vt:lpstr>
      <vt:lpstr>Service Components</vt:lpstr>
      <vt:lpstr>Slide 9</vt:lpstr>
      <vt:lpstr>Sample Client Assignments</vt:lpstr>
      <vt:lpstr>Slide 11</vt:lpstr>
      <vt:lpstr>Firm Overview &amp; Services  An Introduction                          Dermot Hand </vt:lpstr>
      <vt:lpstr> Strategic Context</vt:lpstr>
      <vt:lpstr> Strategic Context</vt:lpstr>
      <vt:lpstr> Strategic Context</vt:lpstr>
      <vt:lpstr> Strategic Context</vt:lpstr>
      <vt:lpstr> Design Considerations</vt:lpstr>
      <vt:lpstr> Our Approach</vt:lpstr>
      <vt:lpstr> Summary</vt:lpstr>
      <vt:lpstr> Questions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Ruth</dc:creator>
  <cp:lastModifiedBy>Ruth</cp:lastModifiedBy>
  <cp:revision>91</cp:revision>
  <dcterms:created xsi:type="dcterms:W3CDTF">2012-08-11T00:35:43Z</dcterms:created>
  <dcterms:modified xsi:type="dcterms:W3CDTF">2012-08-20T00:04:01Z</dcterms:modified>
</cp:coreProperties>
</file>